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83" r:id="rId5"/>
  </p:sldMasterIdLst>
  <p:notesMasterIdLst>
    <p:notesMasterId r:id="rId7"/>
  </p:notesMasterIdLst>
  <p:sldIdLst>
    <p:sldId id="1801" r:id="rId6"/>
  </p:sldIdLst>
  <p:sldSz cx="9906000" cy="6858000" type="A4"/>
  <p:notesSz cx="6807200" cy="99393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A8CBFF-2C98-4C0B-80BE-02253EEE2A33}" v="7" dt="2025-05-09T05:58:22.40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91" autoAdjust="0"/>
    <p:restoredTop sz="94660"/>
  </p:normalViewPr>
  <p:slideViewPr>
    <p:cSldViewPr snapToGrid="0">
      <p:cViewPr varScale="1">
        <p:scale>
          <a:sx n="60" d="100"/>
          <a:sy n="60" d="100"/>
        </p:scale>
        <p:origin x="1496"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下坂 聡(SHIMOSAKA Satoshi)" userId="S::satoshi.shimosaka.n9h@cas.go.jp::a77f28bc-12c8-491e-acb3-262fd00db6c9" providerId="AD" clId="Web-{7CD95F75-1395-755B-3A5B-B676B7131FC7}"/>
    <pc:docChg chg="modSld">
      <pc:chgData name="下坂 聡(SHIMOSAKA Satoshi)" userId="S::satoshi.shimosaka.n9h@cas.go.jp::a77f28bc-12c8-491e-acb3-262fd00db6c9" providerId="AD" clId="Web-{7CD95F75-1395-755B-3A5B-B676B7131FC7}" dt="2025-04-16T06:19:41.892" v="517" actId="1076"/>
      <pc:docMkLst>
        <pc:docMk/>
      </pc:docMkLst>
      <pc:sldChg chg="modSp">
        <pc:chgData name="下坂 聡(SHIMOSAKA Satoshi)" userId="S::satoshi.shimosaka.n9h@cas.go.jp::a77f28bc-12c8-491e-acb3-262fd00db6c9" providerId="AD" clId="Web-{7CD95F75-1395-755B-3A5B-B676B7131FC7}" dt="2025-04-16T06:19:41.892" v="517" actId="1076"/>
        <pc:sldMkLst>
          <pc:docMk/>
          <pc:sldMk cId="1731062681" sldId="1801"/>
        </pc:sldMkLst>
        <pc:spChg chg="mod">
          <ac:chgData name="下坂 聡(SHIMOSAKA Satoshi)" userId="S::satoshi.shimosaka.n9h@cas.go.jp::a77f28bc-12c8-491e-acb3-262fd00db6c9" providerId="AD" clId="Web-{7CD95F75-1395-755B-3A5B-B676B7131FC7}" dt="2025-04-16T06:19:41.892" v="517" actId="1076"/>
          <ac:spMkLst>
            <pc:docMk/>
            <pc:sldMk cId="1731062681" sldId="1801"/>
            <ac:spMk id="9" creationId="{4EF196C3-6C2F-EAEC-23CC-6D7341178A1C}"/>
          </ac:spMkLst>
        </pc:spChg>
        <pc:graphicFrameChg chg="mod modGraphic">
          <ac:chgData name="下坂 聡(SHIMOSAKA Satoshi)" userId="S::satoshi.shimosaka.n9h@cas.go.jp::a77f28bc-12c8-491e-acb3-262fd00db6c9" providerId="AD" clId="Web-{7CD95F75-1395-755B-3A5B-B676B7131FC7}" dt="2025-04-16T06:19:39.126" v="516"/>
          <ac:graphicFrameMkLst>
            <pc:docMk/>
            <pc:sldMk cId="1731062681" sldId="1801"/>
            <ac:graphicFrameMk id="8" creationId="{37C17ED4-31B5-BE1E-4D38-25AA300C4F1B}"/>
          </ac:graphicFrameMkLst>
        </pc:graphicFrameChg>
      </pc:sldChg>
    </pc:docChg>
  </pc:docChgLst>
  <pc:docChgLst>
    <pc:chgData name="牧野 充希(MAKINO Atsuki)" userId="e1bb11f1-fc18-4a8c-a6ff-e197300cb8d1" providerId="ADAL" clId="{B4ACDB95-BA07-4F85-999C-5ADD128ACA0E}"/>
    <pc:docChg chg="modSld">
      <pc:chgData name="牧野 充希(MAKINO Atsuki)" userId="e1bb11f1-fc18-4a8c-a6ff-e197300cb8d1" providerId="ADAL" clId="{B4ACDB95-BA07-4F85-999C-5ADD128ACA0E}" dt="2025-04-30T09:27:26.110" v="51" actId="20577"/>
      <pc:docMkLst>
        <pc:docMk/>
      </pc:docMkLst>
      <pc:sldChg chg="modSp mod">
        <pc:chgData name="牧野 充希(MAKINO Atsuki)" userId="e1bb11f1-fc18-4a8c-a6ff-e197300cb8d1" providerId="ADAL" clId="{B4ACDB95-BA07-4F85-999C-5ADD128ACA0E}" dt="2025-04-30T09:27:26.110" v="51" actId="20577"/>
        <pc:sldMkLst>
          <pc:docMk/>
          <pc:sldMk cId="786981567" sldId="1800"/>
        </pc:sldMkLst>
        <pc:spChg chg="mod">
          <ac:chgData name="牧野 充希(MAKINO Atsuki)" userId="e1bb11f1-fc18-4a8c-a6ff-e197300cb8d1" providerId="ADAL" clId="{B4ACDB95-BA07-4F85-999C-5ADD128ACA0E}" dt="2025-04-30T09:27:26.110" v="51" actId="20577"/>
          <ac:spMkLst>
            <pc:docMk/>
            <pc:sldMk cId="786981567" sldId="1800"/>
            <ac:spMk id="5" creationId="{81D1DB79-8583-A99E-540E-8CB4E3888F88}"/>
          </ac:spMkLst>
        </pc:spChg>
      </pc:sldChg>
    </pc:docChg>
  </pc:docChgLst>
  <pc:docChgLst>
    <pc:chgData name="南 敦(MINAMI Atsushi)" userId="d3165040-e23c-45ef-af47-9418ec81b970" providerId="ADAL" clId="{D07F768C-E5F9-47B7-A9B7-6DDB89239B80}"/>
    <pc:docChg chg="undo custSel addSld delSld modSld sldOrd addSection delSection modSection">
      <pc:chgData name="南 敦(MINAMI Atsushi)" userId="d3165040-e23c-45ef-af47-9418ec81b970" providerId="ADAL" clId="{D07F768C-E5F9-47B7-A9B7-6DDB89239B80}" dt="2025-01-16T19:04:26.447" v="717" actId="20577"/>
      <pc:docMkLst>
        <pc:docMk/>
      </pc:docMkLst>
      <pc:sldChg chg="addSp delSp modSp add mod modClrScheme chgLayout">
        <pc:chgData name="南 敦(MINAMI Atsushi)" userId="d3165040-e23c-45ef-af47-9418ec81b970" providerId="ADAL" clId="{D07F768C-E5F9-47B7-A9B7-6DDB89239B80}" dt="2025-01-10T02:20:47.507" v="689" actId="20577"/>
        <pc:sldMkLst>
          <pc:docMk/>
          <pc:sldMk cId="1927059807" sldId="1764"/>
        </pc:sldMkLst>
        <pc:spChg chg="mod ord">
          <ac:chgData name="南 敦(MINAMI Atsushi)" userId="d3165040-e23c-45ef-af47-9418ec81b970" providerId="ADAL" clId="{D07F768C-E5F9-47B7-A9B7-6DDB89239B80}" dt="2025-01-09T17:37:03.761" v="581" actId="700"/>
          <ac:spMkLst>
            <pc:docMk/>
            <pc:sldMk cId="1927059807" sldId="1764"/>
            <ac:spMk id="5" creationId="{BE7313C8-2F30-4CC0-A171-28A0CD336245}"/>
          </ac:spMkLst>
        </pc:spChg>
        <pc:spChg chg="add del mod">
          <ac:chgData name="南 敦(MINAMI Atsushi)" userId="d3165040-e23c-45ef-af47-9418ec81b970" providerId="ADAL" clId="{D07F768C-E5F9-47B7-A9B7-6DDB89239B80}" dt="2025-01-09T17:24:22.785" v="380" actId="478"/>
          <ac:spMkLst>
            <pc:docMk/>
            <pc:sldMk cId="1927059807" sldId="1764"/>
            <ac:spMk id="9" creationId="{589D126C-B3A5-4BC7-F9D8-47A3A60DA746}"/>
          </ac:spMkLst>
        </pc:spChg>
        <pc:spChg chg="add del mod ord">
          <ac:chgData name="南 敦(MINAMI Atsushi)" userId="d3165040-e23c-45ef-af47-9418ec81b970" providerId="ADAL" clId="{D07F768C-E5F9-47B7-A9B7-6DDB89239B80}" dt="2025-01-09T17:31:24.186" v="501" actId="1076"/>
          <ac:spMkLst>
            <pc:docMk/>
            <pc:sldMk cId="1927059807" sldId="1764"/>
            <ac:spMk id="13" creationId="{C9D1F27F-4B0A-684E-8B2A-9709917657AA}"/>
          </ac:spMkLst>
        </pc:spChg>
        <pc:spChg chg="mod">
          <ac:chgData name="南 敦(MINAMI Atsushi)" userId="d3165040-e23c-45ef-af47-9418ec81b970" providerId="ADAL" clId="{D07F768C-E5F9-47B7-A9B7-6DDB89239B80}" dt="2025-01-10T02:20:47.507" v="689" actId="20577"/>
          <ac:spMkLst>
            <pc:docMk/>
            <pc:sldMk cId="1927059807" sldId="1764"/>
            <ac:spMk id="18" creationId="{045734C6-2283-9884-2A64-78EFE34E5FB9}"/>
          </ac:spMkLst>
        </pc:spChg>
        <pc:spChg chg="mod">
          <ac:chgData name="南 敦(MINAMI Atsushi)" userId="d3165040-e23c-45ef-af47-9418ec81b970" providerId="ADAL" clId="{D07F768C-E5F9-47B7-A9B7-6DDB89239B80}" dt="2025-01-09T17:17:17.043" v="305" actId="20577"/>
          <ac:spMkLst>
            <pc:docMk/>
            <pc:sldMk cId="1927059807" sldId="1764"/>
            <ac:spMk id="19" creationId="{F2A5B345-2BF3-1306-C701-19C71A83B96A}"/>
          </ac:spMkLst>
        </pc:spChg>
        <pc:spChg chg="mod">
          <ac:chgData name="南 敦(MINAMI Atsushi)" userId="d3165040-e23c-45ef-af47-9418ec81b970" providerId="ADAL" clId="{D07F768C-E5F9-47B7-A9B7-6DDB89239B80}" dt="2025-01-09T17:17:53.476" v="311" actId="20577"/>
          <ac:spMkLst>
            <pc:docMk/>
            <pc:sldMk cId="1927059807" sldId="1764"/>
            <ac:spMk id="21" creationId="{433C4577-EA22-DB12-2E98-B02340DD7E76}"/>
          </ac:spMkLst>
        </pc:spChg>
        <pc:graphicFrameChg chg="modGraphic">
          <ac:chgData name="南 敦(MINAMI Atsushi)" userId="d3165040-e23c-45ef-af47-9418ec81b970" providerId="ADAL" clId="{D07F768C-E5F9-47B7-A9B7-6DDB89239B80}" dt="2025-01-09T17:17:36.716" v="309" actId="20577"/>
          <ac:graphicFrameMkLst>
            <pc:docMk/>
            <pc:sldMk cId="1927059807" sldId="1764"/>
            <ac:graphicFrameMk id="2" creationId="{AC417C49-8970-3FBF-DACA-7F241776FB0E}"/>
          </ac:graphicFrameMkLst>
        </pc:graphicFrameChg>
      </pc:sldChg>
      <pc:sldChg chg="add del">
        <pc:chgData name="南 敦(MINAMI Atsushi)" userId="d3165040-e23c-45ef-af47-9418ec81b970" providerId="ADAL" clId="{D07F768C-E5F9-47B7-A9B7-6DDB89239B80}" dt="2025-01-09T17:14:03.710" v="261" actId="2696"/>
        <pc:sldMkLst>
          <pc:docMk/>
          <pc:sldMk cId="1003148262" sldId="1799"/>
        </pc:sldMkLst>
      </pc:sldChg>
      <pc:sldChg chg="delSp modSp add del mod ord">
        <pc:chgData name="南 敦(MINAMI Atsushi)" userId="d3165040-e23c-45ef-af47-9418ec81b970" providerId="ADAL" clId="{D07F768C-E5F9-47B7-A9B7-6DDB89239B80}" dt="2025-01-16T19:04:26.447" v="717" actId="20577"/>
        <pc:sldMkLst>
          <pc:docMk/>
          <pc:sldMk cId="786981567" sldId="1800"/>
        </pc:sldMkLst>
        <pc:spChg chg="del">
          <ac:chgData name="南 敦(MINAMI Atsushi)" userId="d3165040-e23c-45ef-af47-9418ec81b970" providerId="ADAL" clId="{D07F768C-E5F9-47B7-A9B7-6DDB89239B80}" dt="2025-01-16T16:41:54.901" v="690" actId="478"/>
          <ac:spMkLst>
            <pc:docMk/>
            <pc:sldMk cId="786981567" sldId="1800"/>
            <ac:spMk id="4" creationId="{12809128-2959-884E-4E45-A5144B64E61E}"/>
          </ac:spMkLst>
        </pc:spChg>
        <pc:spChg chg="mod">
          <ac:chgData name="南 敦(MINAMI Atsushi)" userId="d3165040-e23c-45ef-af47-9418ec81b970" providerId="ADAL" clId="{D07F768C-E5F9-47B7-A9B7-6DDB89239B80}" dt="2025-01-16T19:04:26.447" v="717" actId="20577"/>
          <ac:spMkLst>
            <pc:docMk/>
            <pc:sldMk cId="786981567" sldId="1800"/>
            <ac:spMk id="5" creationId="{81D1DB79-8583-A99E-540E-8CB4E3888F88}"/>
          </ac:spMkLst>
        </pc:spChg>
      </pc:sldChg>
      <pc:sldChg chg="modSp mod">
        <pc:chgData name="南 敦(MINAMI Atsushi)" userId="d3165040-e23c-45ef-af47-9418ec81b970" providerId="ADAL" clId="{D07F768C-E5F9-47B7-A9B7-6DDB89239B80}" dt="2025-01-09T17:29:33.436" v="468" actId="20577"/>
        <pc:sldMkLst>
          <pc:docMk/>
          <pc:sldMk cId="2174853723" sldId="1802"/>
        </pc:sldMkLst>
        <pc:spChg chg="mod">
          <ac:chgData name="南 敦(MINAMI Atsushi)" userId="d3165040-e23c-45ef-af47-9418ec81b970" providerId="ADAL" clId="{D07F768C-E5F9-47B7-A9B7-6DDB89239B80}" dt="2025-01-09T17:28:39.027" v="456" actId="1076"/>
          <ac:spMkLst>
            <pc:docMk/>
            <pc:sldMk cId="2174853723" sldId="1802"/>
            <ac:spMk id="15" creationId="{AB215C18-256D-7CEE-E7C8-D402A51CD974}"/>
          </ac:spMkLst>
        </pc:spChg>
        <pc:spChg chg="mod">
          <ac:chgData name="南 敦(MINAMI Atsushi)" userId="d3165040-e23c-45ef-af47-9418ec81b970" providerId="ADAL" clId="{D07F768C-E5F9-47B7-A9B7-6DDB89239B80}" dt="2025-01-09T17:29:33.436" v="468" actId="20577"/>
          <ac:spMkLst>
            <pc:docMk/>
            <pc:sldMk cId="2174853723" sldId="1802"/>
            <ac:spMk id="21" creationId="{1CE48F07-2263-E2AB-D2E2-821FF0157F73}"/>
          </ac:spMkLst>
        </pc:spChg>
        <pc:spChg chg="mod">
          <ac:chgData name="南 敦(MINAMI Atsushi)" userId="d3165040-e23c-45ef-af47-9418ec81b970" providerId="ADAL" clId="{D07F768C-E5F9-47B7-A9B7-6DDB89239B80}" dt="2025-01-09T17:28:55.773" v="459" actId="20577"/>
          <ac:spMkLst>
            <pc:docMk/>
            <pc:sldMk cId="2174853723" sldId="1802"/>
            <ac:spMk id="28" creationId="{D0A09A31-B145-CE29-6B63-3AE0379CE7ED}"/>
          </ac:spMkLst>
        </pc:spChg>
      </pc:sldChg>
      <pc:sldChg chg="delSp modSp add del mod">
        <pc:chgData name="南 敦(MINAMI Atsushi)" userId="d3165040-e23c-45ef-af47-9418ec81b970" providerId="ADAL" clId="{D07F768C-E5F9-47B7-A9B7-6DDB89239B80}" dt="2025-01-09T17:36:35.461" v="579" actId="2696"/>
        <pc:sldMkLst>
          <pc:docMk/>
          <pc:sldMk cId="620634248" sldId="1804"/>
        </pc:sldMkLst>
        <pc:spChg chg="mod">
          <ac:chgData name="南 敦(MINAMI Atsushi)" userId="d3165040-e23c-45ef-af47-9418ec81b970" providerId="ADAL" clId="{D07F768C-E5F9-47B7-A9B7-6DDB89239B80}" dt="2025-01-09T17:06:58.293" v="90" actId="1036"/>
          <ac:spMkLst>
            <pc:docMk/>
            <pc:sldMk cId="620634248" sldId="1804"/>
            <ac:spMk id="2" creationId="{5F2D8408-1CA6-F273-B2C3-DAE07E0C2F44}"/>
          </ac:spMkLst>
        </pc:spChg>
        <pc:spChg chg="del">
          <ac:chgData name="南 敦(MINAMI Atsushi)" userId="d3165040-e23c-45ef-af47-9418ec81b970" providerId="ADAL" clId="{D07F768C-E5F9-47B7-A9B7-6DDB89239B80}" dt="2025-01-09T17:04:42.878" v="6" actId="478"/>
          <ac:spMkLst>
            <pc:docMk/>
            <pc:sldMk cId="620634248" sldId="1804"/>
            <ac:spMk id="3" creationId="{13CF5F74-B0CC-0804-84B5-AA312627120F}"/>
          </ac:spMkLst>
        </pc:spChg>
        <pc:spChg chg="mod">
          <ac:chgData name="南 敦(MINAMI Atsushi)" userId="d3165040-e23c-45ef-af47-9418ec81b970" providerId="ADAL" clId="{D07F768C-E5F9-47B7-A9B7-6DDB89239B80}" dt="2025-01-09T17:12:49.626" v="248" actId="20577"/>
          <ac:spMkLst>
            <pc:docMk/>
            <pc:sldMk cId="620634248" sldId="1804"/>
            <ac:spMk id="5" creationId="{81D1DB79-8583-A99E-540E-8CB4E3888F88}"/>
          </ac:spMkLst>
        </pc:spChg>
      </pc:sldChg>
      <pc:sldChg chg="modSp add mod">
        <pc:chgData name="南 敦(MINAMI Atsushi)" userId="d3165040-e23c-45ef-af47-9418ec81b970" providerId="ADAL" clId="{D07F768C-E5F9-47B7-A9B7-6DDB89239B80}" dt="2025-01-09T17:19:27.517" v="313" actId="20577"/>
        <pc:sldMkLst>
          <pc:docMk/>
          <pc:sldMk cId="3494048592" sldId="1805"/>
        </pc:sldMkLst>
        <pc:graphicFrameChg chg="modGraphic">
          <ac:chgData name="南 敦(MINAMI Atsushi)" userId="d3165040-e23c-45ef-af47-9418ec81b970" providerId="ADAL" clId="{D07F768C-E5F9-47B7-A9B7-6DDB89239B80}" dt="2025-01-09T17:19:27.517" v="313" actId="20577"/>
          <ac:graphicFrameMkLst>
            <pc:docMk/>
            <pc:sldMk cId="3494048592" sldId="1805"/>
            <ac:graphicFrameMk id="8" creationId="{37C17ED4-31B5-BE1E-4D38-25AA300C4F1B}"/>
          </ac:graphicFrameMkLst>
        </pc:graphicFrameChg>
      </pc:sldChg>
      <pc:sldChg chg="addSp delSp modSp add mod">
        <pc:chgData name="南 敦(MINAMI Atsushi)" userId="d3165040-e23c-45ef-af47-9418ec81b970" providerId="ADAL" clId="{D07F768C-E5F9-47B7-A9B7-6DDB89239B80}" dt="2025-01-09T17:26:37.201" v="421" actId="14100"/>
        <pc:sldMkLst>
          <pc:docMk/>
          <pc:sldMk cId="1539400230" sldId="1806"/>
        </pc:sldMkLst>
        <pc:spChg chg="del">
          <ac:chgData name="南 敦(MINAMI Atsushi)" userId="d3165040-e23c-45ef-af47-9418ec81b970" providerId="ADAL" clId="{D07F768C-E5F9-47B7-A9B7-6DDB89239B80}" dt="2025-01-09T17:23:02.723" v="363" actId="478"/>
          <ac:spMkLst>
            <pc:docMk/>
            <pc:sldMk cId="1539400230" sldId="1806"/>
            <ac:spMk id="15" creationId="{AB215C18-256D-7CEE-E7C8-D402A51CD974}"/>
          </ac:spMkLst>
        </pc:spChg>
        <pc:spChg chg="add mod ord">
          <ac:chgData name="南 敦(MINAMI Atsushi)" userId="d3165040-e23c-45ef-af47-9418ec81b970" providerId="ADAL" clId="{D07F768C-E5F9-47B7-A9B7-6DDB89239B80}" dt="2025-01-09T17:26:37.201" v="421" actId="14100"/>
          <ac:spMkLst>
            <pc:docMk/>
            <pc:sldMk cId="1539400230" sldId="1806"/>
            <ac:spMk id="16" creationId="{5CCDF56A-7F17-7705-D560-EFADB4C3FC8E}"/>
          </ac:spMkLst>
        </pc:spChg>
        <pc:spChg chg="mod">
          <ac:chgData name="南 敦(MINAMI Atsushi)" userId="d3165040-e23c-45ef-af47-9418ec81b970" providerId="ADAL" clId="{D07F768C-E5F9-47B7-A9B7-6DDB89239B80}" dt="2025-01-09T17:20:09.932" v="334" actId="20577"/>
          <ac:spMkLst>
            <pc:docMk/>
            <pc:sldMk cId="1539400230" sldId="1806"/>
            <ac:spMk id="21" creationId="{1CE48F07-2263-E2AB-D2E2-821FF0157F73}"/>
          </ac:spMkLst>
        </pc:spChg>
        <pc:spChg chg="mod">
          <ac:chgData name="南 敦(MINAMI Atsushi)" userId="d3165040-e23c-45ef-af47-9418ec81b970" providerId="ADAL" clId="{D07F768C-E5F9-47B7-A9B7-6DDB89239B80}" dt="2025-01-09T17:19:51.782" v="322" actId="20577"/>
          <ac:spMkLst>
            <pc:docMk/>
            <pc:sldMk cId="1539400230" sldId="1806"/>
            <ac:spMk id="25" creationId="{6E42A63F-2890-CD55-BF86-10D64ABE91F0}"/>
          </ac:spMkLst>
        </pc:spChg>
        <pc:spChg chg="mod">
          <ac:chgData name="南 敦(MINAMI Atsushi)" userId="d3165040-e23c-45ef-af47-9418ec81b970" providerId="ADAL" clId="{D07F768C-E5F9-47B7-A9B7-6DDB89239B80}" dt="2025-01-09T17:20:19.721" v="337" actId="20577"/>
          <ac:spMkLst>
            <pc:docMk/>
            <pc:sldMk cId="1539400230" sldId="1806"/>
            <ac:spMk id="28" creationId="{D0A09A31-B145-CE29-6B63-3AE0379CE7ED}"/>
          </ac:spMkLst>
        </pc:spChg>
        <pc:graphicFrameChg chg="modGraphic">
          <ac:chgData name="南 敦(MINAMI Atsushi)" userId="d3165040-e23c-45ef-af47-9418ec81b970" providerId="ADAL" clId="{D07F768C-E5F9-47B7-A9B7-6DDB89239B80}" dt="2025-01-09T17:19:35.165" v="315" actId="20577"/>
          <ac:graphicFrameMkLst>
            <pc:docMk/>
            <pc:sldMk cId="1539400230" sldId="1806"/>
            <ac:graphicFrameMk id="8" creationId="{37C17ED4-31B5-BE1E-4D38-25AA300C4F1B}"/>
          </ac:graphicFrameMkLst>
        </pc:graphicFrameChg>
      </pc:sldChg>
      <pc:sldChg chg="modSp add mod">
        <pc:chgData name="南 敦(MINAMI Atsushi)" userId="d3165040-e23c-45ef-af47-9418ec81b970" providerId="ADAL" clId="{D07F768C-E5F9-47B7-A9B7-6DDB89239B80}" dt="2025-01-09T17:21:07.263" v="353" actId="20577"/>
        <pc:sldMkLst>
          <pc:docMk/>
          <pc:sldMk cId="3361803510" sldId="1807"/>
        </pc:sldMkLst>
        <pc:spChg chg="mod">
          <ac:chgData name="南 敦(MINAMI Atsushi)" userId="d3165040-e23c-45ef-af47-9418ec81b970" providerId="ADAL" clId="{D07F768C-E5F9-47B7-A9B7-6DDB89239B80}" dt="2025-01-09T17:21:07.263" v="353" actId="20577"/>
          <ac:spMkLst>
            <pc:docMk/>
            <pc:sldMk cId="3361803510" sldId="1807"/>
            <ac:spMk id="8" creationId="{D7FDF8F7-1165-88FF-2A7D-D571C1D4BFAE}"/>
          </ac:spMkLst>
        </pc:spChg>
      </pc:sldChg>
      <pc:sldChg chg="modSp add mod modClrScheme chgLayout">
        <pc:chgData name="南 敦(MINAMI Atsushi)" userId="d3165040-e23c-45ef-af47-9418ec81b970" providerId="ADAL" clId="{D07F768C-E5F9-47B7-A9B7-6DDB89239B80}" dt="2025-01-09T17:36:58.343" v="580" actId="700"/>
        <pc:sldMkLst>
          <pc:docMk/>
          <pc:sldMk cId="2260495983" sldId="1808"/>
        </pc:sldMkLst>
        <pc:spChg chg="mod ord">
          <ac:chgData name="南 敦(MINAMI Atsushi)" userId="d3165040-e23c-45ef-af47-9418ec81b970" providerId="ADAL" clId="{D07F768C-E5F9-47B7-A9B7-6DDB89239B80}" dt="2025-01-09T17:36:58.343" v="580" actId="700"/>
          <ac:spMkLst>
            <pc:docMk/>
            <pc:sldMk cId="2260495983" sldId="1808"/>
            <ac:spMk id="5" creationId="{BE7313C8-2F30-4CC0-A171-28A0CD336245}"/>
          </ac:spMkLst>
        </pc:spChg>
        <pc:graphicFrameChg chg="modGraphic">
          <ac:chgData name="南 敦(MINAMI Atsushi)" userId="d3165040-e23c-45ef-af47-9418ec81b970" providerId="ADAL" clId="{D07F768C-E5F9-47B7-A9B7-6DDB89239B80}" dt="2025-01-09T17:21:38.093" v="355" actId="20577"/>
          <ac:graphicFrameMkLst>
            <pc:docMk/>
            <pc:sldMk cId="2260495983" sldId="1808"/>
            <ac:graphicFrameMk id="2" creationId="{AC417C49-8970-3FBF-DACA-7F241776FB0E}"/>
          </ac:graphicFrameMkLst>
        </pc:graphicFrameChg>
      </pc:sldChg>
      <pc:sldChg chg="modSp add mod">
        <pc:chgData name="南 敦(MINAMI Atsushi)" userId="d3165040-e23c-45ef-af47-9418ec81b970" providerId="ADAL" clId="{D07F768C-E5F9-47B7-A9B7-6DDB89239B80}" dt="2025-01-10T02:20:20.758" v="680" actId="20577"/>
        <pc:sldMkLst>
          <pc:docMk/>
          <pc:sldMk cId="2538732313" sldId="1809"/>
        </pc:sldMkLst>
        <pc:spChg chg="mod">
          <ac:chgData name="南 敦(MINAMI Atsushi)" userId="d3165040-e23c-45ef-af47-9418ec81b970" providerId="ADAL" clId="{D07F768C-E5F9-47B7-A9B7-6DDB89239B80}" dt="2025-01-10T02:20:20.758" v="680" actId="20577"/>
          <ac:spMkLst>
            <pc:docMk/>
            <pc:sldMk cId="2538732313" sldId="1809"/>
            <ac:spMk id="8" creationId="{D7FDF8F7-1165-88FF-2A7D-D571C1D4BFAE}"/>
          </ac:spMkLst>
        </pc:spChg>
      </pc:sldChg>
      <pc:sldChg chg="add del">
        <pc:chgData name="南 敦(MINAMI Atsushi)" userId="d3165040-e23c-45ef-af47-9418ec81b970" providerId="ADAL" clId="{D07F768C-E5F9-47B7-A9B7-6DDB89239B80}" dt="2025-01-10T02:13:13.281" v="654" actId="2696"/>
        <pc:sldMkLst>
          <pc:docMk/>
          <pc:sldMk cId="246833147" sldId="1810"/>
        </pc:sldMkLst>
      </pc:sldChg>
    </pc:docChg>
  </pc:docChgLst>
  <pc:docChgLst>
    <pc:chgData name="澤村 僚(SAWAMURA Ryo)" userId="4cfe6057-f08c-4400-b030-3b1cc012e179" providerId="ADAL" clId="{546E6E7F-BB68-41D2-9EC6-8BC240A9A6CE}"/>
    <pc:docChg chg="undo custSel modSld">
      <pc:chgData name="澤村 僚(SAWAMURA Ryo)" userId="4cfe6057-f08c-4400-b030-3b1cc012e179" providerId="ADAL" clId="{546E6E7F-BB68-41D2-9EC6-8BC240A9A6CE}" dt="2024-12-25T04:17:05.343" v="135" actId="20577"/>
      <pc:docMkLst>
        <pc:docMk/>
      </pc:docMkLst>
      <pc:sldChg chg="delSp modSp mod">
        <pc:chgData name="澤村 僚(SAWAMURA Ryo)" userId="4cfe6057-f08c-4400-b030-3b1cc012e179" providerId="ADAL" clId="{546E6E7F-BB68-41D2-9EC6-8BC240A9A6CE}" dt="2024-12-25T04:17:05.343" v="135" actId="20577"/>
        <pc:sldMkLst>
          <pc:docMk/>
          <pc:sldMk cId="1731062681" sldId="1801"/>
        </pc:sldMkLst>
        <pc:spChg chg="mod">
          <ac:chgData name="澤村 僚(SAWAMURA Ryo)" userId="4cfe6057-f08c-4400-b030-3b1cc012e179" providerId="ADAL" clId="{546E6E7F-BB68-41D2-9EC6-8BC240A9A6CE}" dt="2024-12-18T08:23:43.053" v="88" actId="1076"/>
          <ac:spMkLst>
            <pc:docMk/>
            <pc:sldMk cId="1731062681" sldId="1801"/>
            <ac:spMk id="9" creationId="{4EF196C3-6C2F-EAEC-23CC-6D7341178A1C}"/>
          </ac:spMkLst>
        </pc:spChg>
        <pc:spChg chg="del">
          <ac:chgData name="澤村 僚(SAWAMURA Ryo)" userId="4cfe6057-f08c-4400-b030-3b1cc012e179" providerId="ADAL" clId="{546E6E7F-BB68-41D2-9EC6-8BC240A9A6CE}" dt="2024-12-18T08:23:48.386" v="89" actId="478"/>
          <ac:spMkLst>
            <pc:docMk/>
            <pc:sldMk cId="1731062681" sldId="1801"/>
            <ac:spMk id="10" creationId="{35543A15-5B1D-8CB3-2CC6-E1EA7F2D4B43}"/>
          </ac:spMkLst>
        </pc:spChg>
        <pc:spChg chg="mod">
          <ac:chgData name="澤村 僚(SAWAMURA Ryo)" userId="4cfe6057-f08c-4400-b030-3b1cc012e179" providerId="ADAL" clId="{546E6E7F-BB68-41D2-9EC6-8BC240A9A6CE}" dt="2024-12-25T04:17:05.343" v="135" actId="20577"/>
          <ac:spMkLst>
            <pc:docMk/>
            <pc:sldMk cId="1731062681" sldId="1801"/>
            <ac:spMk id="23" creationId="{E4C1C023-A7F7-8307-3383-F4CAF1FF2658}"/>
          </ac:spMkLst>
        </pc:spChg>
        <pc:graphicFrameChg chg="mod modGraphic">
          <ac:chgData name="澤村 僚(SAWAMURA Ryo)" userId="4cfe6057-f08c-4400-b030-3b1cc012e179" providerId="ADAL" clId="{546E6E7F-BB68-41D2-9EC6-8BC240A9A6CE}" dt="2024-12-18T07:57:03.806" v="87" actId="255"/>
          <ac:graphicFrameMkLst>
            <pc:docMk/>
            <pc:sldMk cId="1731062681" sldId="1801"/>
            <ac:graphicFrameMk id="8" creationId="{37C17ED4-31B5-BE1E-4D38-25AA300C4F1B}"/>
          </ac:graphicFrameMkLst>
        </pc:graphicFrameChg>
      </pc:sldChg>
    </pc:docChg>
  </pc:docChgLst>
  <pc:docChgLst>
    <pc:chgData name="澤村 僚(SAWAMURA Ryo)" userId="4cfe6057-f08c-4400-b030-3b1cc012e179" providerId="ADAL" clId="{E43C68B4-1EC5-4584-9729-1AE755622A99}"/>
    <pc:docChg chg="modSld">
      <pc:chgData name="澤村 僚(SAWAMURA Ryo)" userId="4cfe6057-f08c-4400-b030-3b1cc012e179" providerId="ADAL" clId="{E43C68B4-1EC5-4584-9729-1AE755622A99}" dt="2024-12-26T01:08:21.611" v="29" actId="1076"/>
      <pc:docMkLst>
        <pc:docMk/>
      </pc:docMkLst>
      <pc:sldChg chg="addSp modSp mod">
        <pc:chgData name="澤村 僚(SAWAMURA Ryo)" userId="4cfe6057-f08c-4400-b030-3b1cc012e179" providerId="ADAL" clId="{E43C68B4-1EC5-4584-9729-1AE755622A99}" dt="2024-12-26T01:08:21.611" v="29" actId="1076"/>
        <pc:sldMkLst>
          <pc:docMk/>
          <pc:sldMk cId="786981567" sldId="1800"/>
        </pc:sldMkLst>
        <pc:spChg chg="mod">
          <ac:chgData name="澤村 僚(SAWAMURA Ryo)" userId="4cfe6057-f08c-4400-b030-3b1cc012e179" providerId="ADAL" clId="{E43C68B4-1EC5-4584-9729-1AE755622A99}" dt="2024-12-25T18:08:16.443" v="8" actId="1076"/>
          <ac:spMkLst>
            <pc:docMk/>
            <pc:sldMk cId="786981567" sldId="1800"/>
            <ac:spMk id="2" creationId="{5F2D8408-1CA6-F273-B2C3-DAE07E0C2F44}"/>
          </ac:spMkLst>
        </pc:spChg>
        <pc:spChg chg="mod">
          <ac:chgData name="澤村 僚(SAWAMURA Ryo)" userId="4cfe6057-f08c-4400-b030-3b1cc012e179" providerId="ADAL" clId="{E43C68B4-1EC5-4584-9729-1AE755622A99}" dt="2024-12-25T18:08:34.326" v="15" actId="14100"/>
          <ac:spMkLst>
            <pc:docMk/>
            <pc:sldMk cId="786981567" sldId="1800"/>
            <ac:spMk id="3" creationId="{13CF5F74-B0CC-0804-84B5-AA312627120F}"/>
          </ac:spMkLst>
        </pc:spChg>
        <pc:spChg chg="add mod">
          <ac:chgData name="澤村 僚(SAWAMURA Ryo)" userId="4cfe6057-f08c-4400-b030-3b1cc012e179" providerId="ADAL" clId="{E43C68B4-1EC5-4584-9729-1AE755622A99}" dt="2024-12-26T01:08:21.611" v="29" actId="1076"/>
          <ac:spMkLst>
            <pc:docMk/>
            <pc:sldMk cId="786981567" sldId="1800"/>
            <ac:spMk id="4" creationId="{12809128-2959-884E-4E45-A5144B64E61E}"/>
          </ac:spMkLst>
        </pc:spChg>
      </pc:sldChg>
    </pc:docChg>
  </pc:docChgLst>
  <pc:docChgLst>
    <pc:chgData name="西村 笙平(NISHIMURA Shohei)" userId="S::shohei.nishimura.z3c@cas.go.jp::d08d2c33-9814-43fe-9d7b-ea3e5d006c86" providerId="AD" clId="Web-{6846CCBD-6F92-2876-284D-90CED584EEE6}"/>
    <pc:docChg chg="modSld">
      <pc:chgData name="西村 笙平(NISHIMURA Shohei)" userId="S::shohei.nishimura.z3c@cas.go.jp::d08d2c33-9814-43fe-9d7b-ea3e5d006c86" providerId="AD" clId="Web-{6846CCBD-6F92-2876-284D-90CED584EEE6}" dt="2025-04-18T02:05:03.415" v="1"/>
      <pc:docMkLst>
        <pc:docMk/>
      </pc:docMkLst>
      <pc:sldChg chg="modSp">
        <pc:chgData name="西村 笙平(NISHIMURA Shohei)" userId="S::shohei.nishimura.z3c@cas.go.jp::d08d2c33-9814-43fe-9d7b-ea3e5d006c86" providerId="AD" clId="Web-{6846CCBD-6F92-2876-284D-90CED584EEE6}" dt="2025-04-18T02:05:03.415" v="1"/>
        <pc:sldMkLst>
          <pc:docMk/>
          <pc:sldMk cId="1731062681" sldId="1801"/>
        </pc:sldMkLst>
        <pc:graphicFrameChg chg="mod modGraphic">
          <ac:chgData name="西村 笙平(NISHIMURA Shohei)" userId="S::shohei.nishimura.z3c@cas.go.jp::d08d2c33-9814-43fe-9d7b-ea3e5d006c86" providerId="AD" clId="Web-{6846CCBD-6F92-2876-284D-90CED584EEE6}" dt="2025-04-18T02:05:03.415" v="1"/>
          <ac:graphicFrameMkLst>
            <pc:docMk/>
            <pc:sldMk cId="1731062681" sldId="1801"/>
            <ac:graphicFrameMk id="8" creationId="{37C17ED4-31B5-BE1E-4D38-25AA300C4F1B}"/>
          </ac:graphicFrameMkLst>
        </pc:graphicFrameChg>
      </pc:sldChg>
    </pc:docChg>
  </pc:docChgLst>
  <pc:docChgLst>
    <pc:chgData name="南 敦(MINAMI Atsushi)" userId="d3165040-e23c-45ef-af47-9418ec81b970" providerId="ADAL" clId="{90CFA07F-E5B3-4888-93A7-C87228327420}"/>
    <pc:docChg chg="undo custSel modSld">
      <pc:chgData name="南 敦(MINAMI Atsushi)" userId="d3165040-e23c-45ef-af47-9418ec81b970" providerId="ADAL" clId="{90CFA07F-E5B3-4888-93A7-C87228327420}" dt="2024-12-18T08:56:13.554" v="2619" actId="20577"/>
      <pc:docMkLst>
        <pc:docMk/>
      </pc:docMkLst>
      <pc:sldChg chg="addSp delSp modSp mod">
        <pc:chgData name="南 敦(MINAMI Atsushi)" userId="d3165040-e23c-45ef-af47-9418ec81b970" providerId="ADAL" clId="{90CFA07F-E5B3-4888-93A7-C87228327420}" dt="2024-12-18T03:50:23.375" v="938" actId="478"/>
        <pc:sldMkLst>
          <pc:docMk/>
          <pc:sldMk cId="786981567" sldId="1800"/>
        </pc:sldMkLst>
        <pc:spChg chg="mod">
          <ac:chgData name="南 敦(MINAMI Atsushi)" userId="d3165040-e23c-45ef-af47-9418ec81b970" providerId="ADAL" clId="{90CFA07F-E5B3-4888-93A7-C87228327420}" dt="2024-12-18T03:03:30.277" v="32" actId="20577"/>
          <ac:spMkLst>
            <pc:docMk/>
            <pc:sldMk cId="786981567" sldId="1800"/>
            <ac:spMk id="2" creationId="{5F2D8408-1CA6-F273-B2C3-DAE07E0C2F44}"/>
          </ac:spMkLst>
        </pc:spChg>
        <pc:spChg chg="mod">
          <ac:chgData name="南 敦(MINAMI Atsushi)" userId="d3165040-e23c-45ef-af47-9418ec81b970" providerId="ADAL" clId="{90CFA07F-E5B3-4888-93A7-C87228327420}" dt="2024-12-18T03:03:34.615" v="39" actId="20577"/>
          <ac:spMkLst>
            <pc:docMk/>
            <pc:sldMk cId="786981567" sldId="1800"/>
            <ac:spMk id="3" creationId="{13CF5F74-B0CC-0804-84B5-AA312627120F}"/>
          </ac:spMkLst>
        </pc:spChg>
        <pc:spChg chg="add del mod">
          <ac:chgData name="南 敦(MINAMI Atsushi)" userId="d3165040-e23c-45ef-af47-9418ec81b970" providerId="ADAL" clId="{90CFA07F-E5B3-4888-93A7-C87228327420}" dt="2024-12-18T03:50:23.375" v="938" actId="478"/>
          <ac:spMkLst>
            <pc:docMk/>
            <pc:sldMk cId="786981567" sldId="1800"/>
            <ac:spMk id="4" creationId="{4DB9B580-14CF-685F-BC2D-535B73D9F951}"/>
          </ac:spMkLst>
        </pc:spChg>
        <pc:spChg chg="mod">
          <ac:chgData name="南 敦(MINAMI Atsushi)" userId="d3165040-e23c-45ef-af47-9418ec81b970" providerId="ADAL" clId="{90CFA07F-E5B3-4888-93A7-C87228327420}" dt="2024-12-18T03:50:18.647" v="937" actId="20577"/>
          <ac:spMkLst>
            <pc:docMk/>
            <pc:sldMk cId="786981567" sldId="1800"/>
            <ac:spMk id="5" creationId="{81D1DB79-8583-A99E-540E-8CB4E3888F88}"/>
          </ac:spMkLst>
        </pc:spChg>
      </pc:sldChg>
      <pc:sldChg chg="modSp mod">
        <pc:chgData name="南 敦(MINAMI Atsushi)" userId="d3165040-e23c-45ef-af47-9418ec81b970" providerId="ADAL" clId="{90CFA07F-E5B3-4888-93A7-C87228327420}" dt="2024-12-18T08:56:02.514" v="2615" actId="20577"/>
        <pc:sldMkLst>
          <pc:docMk/>
          <pc:sldMk cId="1731062681" sldId="1801"/>
        </pc:sldMkLst>
        <pc:spChg chg="mod">
          <ac:chgData name="南 敦(MINAMI Atsushi)" userId="d3165040-e23c-45ef-af47-9418ec81b970" providerId="ADAL" clId="{90CFA07F-E5B3-4888-93A7-C87228327420}" dt="2024-12-18T03:14:49.506" v="735" actId="1076"/>
          <ac:spMkLst>
            <pc:docMk/>
            <pc:sldMk cId="1731062681" sldId="1801"/>
            <ac:spMk id="10" creationId="{35543A15-5B1D-8CB3-2CC6-E1EA7F2D4B43}"/>
          </ac:spMkLst>
        </pc:spChg>
        <pc:graphicFrameChg chg="mod modGraphic">
          <ac:chgData name="南 敦(MINAMI Atsushi)" userId="d3165040-e23c-45ef-af47-9418ec81b970" providerId="ADAL" clId="{90CFA07F-E5B3-4888-93A7-C87228327420}" dt="2024-12-18T08:56:02.514" v="2615" actId="20577"/>
          <ac:graphicFrameMkLst>
            <pc:docMk/>
            <pc:sldMk cId="1731062681" sldId="1801"/>
            <ac:graphicFrameMk id="8" creationId="{37C17ED4-31B5-BE1E-4D38-25AA300C4F1B}"/>
          </ac:graphicFrameMkLst>
        </pc:graphicFrameChg>
      </pc:sldChg>
      <pc:sldChg chg="modSp mod">
        <pc:chgData name="南 敦(MINAMI Atsushi)" userId="d3165040-e23c-45ef-af47-9418ec81b970" providerId="ADAL" clId="{90CFA07F-E5B3-4888-93A7-C87228327420}" dt="2024-12-18T08:56:13.554" v="2619" actId="20577"/>
        <pc:sldMkLst>
          <pc:docMk/>
          <pc:sldMk cId="2174853723" sldId="1802"/>
        </pc:sldMkLst>
        <pc:spChg chg="mod">
          <ac:chgData name="南 敦(MINAMI Atsushi)" userId="d3165040-e23c-45ef-af47-9418ec81b970" providerId="ADAL" clId="{90CFA07F-E5B3-4888-93A7-C87228327420}" dt="2024-12-18T08:55:14.897" v="2600" actId="14100"/>
          <ac:spMkLst>
            <pc:docMk/>
            <pc:sldMk cId="2174853723" sldId="1802"/>
            <ac:spMk id="3" creationId="{C8A3523E-49B5-64AD-925C-2E71989F6FC8}"/>
          </ac:spMkLst>
        </pc:spChg>
        <pc:spChg chg="mod">
          <ac:chgData name="南 敦(MINAMI Atsushi)" userId="d3165040-e23c-45ef-af47-9418ec81b970" providerId="ADAL" clId="{90CFA07F-E5B3-4888-93A7-C87228327420}" dt="2024-12-18T08:55:08.092" v="2599" actId="1036"/>
          <ac:spMkLst>
            <pc:docMk/>
            <pc:sldMk cId="2174853723" sldId="1802"/>
            <ac:spMk id="4" creationId="{79F07E1F-BD8A-6EF9-8286-94C1A647960B}"/>
          </ac:spMkLst>
        </pc:spChg>
        <pc:spChg chg="mod">
          <ac:chgData name="南 敦(MINAMI Atsushi)" userId="d3165040-e23c-45ef-af47-9418ec81b970" providerId="ADAL" clId="{90CFA07F-E5B3-4888-93A7-C87228327420}" dt="2024-12-18T08:55:19.865" v="2606" actId="1036"/>
          <ac:spMkLst>
            <pc:docMk/>
            <pc:sldMk cId="2174853723" sldId="1802"/>
            <ac:spMk id="7" creationId="{3FB4849D-60FC-271F-FD2C-2270B52FDA46}"/>
          </ac:spMkLst>
        </pc:spChg>
        <pc:spChg chg="mod">
          <ac:chgData name="南 敦(MINAMI Atsushi)" userId="d3165040-e23c-45ef-af47-9418ec81b970" providerId="ADAL" clId="{90CFA07F-E5B3-4888-93A7-C87228327420}" dt="2024-12-18T08:54:53.501" v="2590" actId="1036"/>
          <ac:spMkLst>
            <pc:docMk/>
            <pc:sldMk cId="2174853723" sldId="1802"/>
            <ac:spMk id="9" creationId="{4EF196C3-6C2F-EAEC-23CC-6D7341178A1C}"/>
          </ac:spMkLst>
        </pc:spChg>
        <pc:spChg chg="mod">
          <ac:chgData name="南 敦(MINAMI Atsushi)" userId="d3165040-e23c-45ef-af47-9418ec81b970" providerId="ADAL" clId="{90CFA07F-E5B3-4888-93A7-C87228327420}" dt="2024-12-18T08:55:24.043" v="2611" actId="1036"/>
          <ac:spMkLst>
            <pc:docMk/>
            <pc:sldMk cId="2174853723" sldId="1802"/>
            <ac:spMk id="11" creationId="{6BE75387-9B28-51BA-42FE-14811FC58A67}"/>
          </ac:spMkLst>
        </pc:spChg>
        <pc:graphicFrameChg chg="mod modGraphic">
          <ac:chgData name="南 敦(MINAMI Atsushi)" userId="d3165040-e23c-45ef-af47-9418ec81b970" providerId="ADAL" clId="{90CFA07F-E5B3-4888-93A7-C87228327420}" dt="2024-12-18T08:56:13.554" v="2619" actId="20577"/>
          <ac:graphicFrameMkLst>
            <pc:docMk/>
            <pc:sldMk cId="2174853723" sldId="1802"/>
            <ac:graphicFrameMk id="16" creationId="{4328BA06-C622-B011-947E-DCBE5C9ECD51}"/>
          </ac:graphicFrameMkLst>
        </pc:graphicFrameChg>
      </pc:sldChg>
      <pc:sldChg chg="modSp mod">
        <pc:chgData name="南 敦(MINAMI Atsushi)" userId="d3165040-e23c-45ef-af47-9418ec81b970" providerId="ADAL" clId="{90CFA07F-E5B3-4888-93A7-C87228327420}" dt="2024-12-18T04:08:36.882" v="965" actId="20577"/>
        <pc:sldMkLst>
          <pc:docMk/>
          <pc:sldMk cId="4155459258" sldId="1803"/>
        </pc:sldMkLst>
        <pc:spChg chg="mod">
          <ac:chgData name="南 敦(MINAMI Atsushi)" userId="d3165040-e23c-45ef-af47-9418ec81b970" providerId="ADAL" clId="{90CFA07F-E5B3-4888-93A7-C87228327420}" dt="2024-12-18T04:08:06.130" v="951" actId="20577"/>
          <ac:spMkLst>
            <pc:docMk/>
            <pc:sldMk cId="4155459258" sldId="1803"/>
            <ac:spMk id="8" creationId="{D7FDF8F7-1165-88FF-2A7D-D571C1D4BFAE}"/>
          </ac:spMkLst>
        </pc:spChg>
        <pc:graphicFrameChg chg="modGraphic">
          <ac:chgData name="南 敦(MINAMI Atsushi)" userId="d3165040-e23c-45ef-af47-9418ec81b970" providerId="ADAL" clId="{90CFA07F-E5B3-4888-93A7-C87228327420}" dt="2024-12-18T04:08:36.882" v="965" actId="20577"/>
          <ac:graphicFrameMkLst>
            <pc:docMk/>
            <pc:sldMk cId="4155459258" sldId="1803"/>
            <ac:graphicFrameMk id="11" creationId="{ACF7D667-AD41-DFCA-B65A-E63FABE01CF7}"/>
          </ac:graphicFrameMkLst>
        </pc:graphicFrameChg>
      </pc:sldChg>
    </pc:docChg>
  </pc:docChgLst>
  <pc:docChgLst>
    <pc:chgData name="牧野 充希(MAKINO Atsuki)" userId="e1bb11f1-fc18-4a8c-a6ff-e197300cb8d1" providerId="ADAL" clId="{3D355F57-3802-40E8-A1F1-61B8B41E18AD}"/>
    <pc:docChg chg="undo custSel addSld delSld modSld sldOrd addSection modSection">
      <pc:chgData name="牧野 充希(MAKINO Atsuki)" userId="e1bb11f1-fc18-4a8c-a6ff-e197300cb8d1" providerId="ADAL" clId="{3D355F57-3802-40E8-A1F1-61B8B41E18AD}" dt="2025-04-22T13:35:30.292" v="756" actId="20577"/>
      <pc:docMkLst>
        <pc:docMk/>
      </pc:docMkLst>
      <pc:sldChg chg="addSp modSp del mod">
        <pc:chgData name="牧野 充希(MAKINO Atsuki)" userId="e1bb11f1-fc18-4a8c-a6ff-e197300cb8d1" providerId="ADAL" clId="{3D355F57-3802-40E8-A1F1-61B8B41E18AD}" dt="2025-04-22T12:59:34.618" v="202" actId="2696"/>
        <pc:sldMkLst>
          <pc:docMk/>
          <pc:sldMk cId="1927059807" sldId="1764"/>
        </pc:sldMkLst>
        <pc:spChg chg="mod">
          <ac:chgData name="牧野 充希(MAKINO Atsuki)" userId="e1bb11f1-fc18-4a8c-a6ff-e197300cb8d1" providerId="ADAL" clId="{3D355F57-3802-40E8-A1F1-61B8B41E18AD}" dt="2025-04-22T12:58:53.795" v="191" actId="20577"/>
          <ac:spMkLst>
            <pc:docMk/>
            <pc:sldMk cId="1927059807" sldId="1764"/>
            <ac:spMk id="10" creationId="{7D56EA1E-EC7F-C9A7-E36B-EE9BDC7082B1}"/>
          </ac:spMkLst>
        </pc:spChg>
        <pc:spChg chg="add mod">
          <ac:chgData name="牧野 充希(MAKINO Atsuki)" userId="e1bb11f1-fc18-4a8c-a6ff-e197300cb8d1" providerId="ADAL" clId="{3D355F57-3802-40E8-A1F1-61B8B41E18AD}" dt="2025-04-22T12:58:28.202" v="185"/>
          <ac:spMkLst>
            <pc:docMk/>
            <pc:sldMk cId="1927059807" sldId="1764"/>
            <ac:spMk id="18" creationId="{70FB8389-9860-15EF-1957-8277EED79FF0}"/>
          </ac:spMkLst>
        </pc:spChg>
        <pc:graphicFrameChg chg="modGraphic">
          <ac:chgData name="牧野 充希(MAKINO Atsuki)" userId="e1bb11f1-fc18-4a8c-a6ff-e197300cb8d1" providerId="ADAL" clId="{3D355F57-3802-40E8-A1F1-61B8B41E18AD}" dt="2025-04-22T12:45:04.839" v="63" actId="207"/>
          <ac:graphicFrameMkLst>
            <pc:docMk/>
            <pc:sldMk cId="1927059807" sldId="1764"/>
            <ac:graphicFrameMk id="2" creationId="{AC417C49-8970-3FBF-DACA-7F241776FB0E}"/>
          </ac:graphicFrameMkLst>
        </pc:graphicFrameChg>
      </pc:sldChg>
      <pc:sldChg chg="modSp mod">
        <pc:chgData name="牧野 充希(MAKINO Atsuki)" userId="e1bb11f1-fc18-4a8c-a6ff-e197300cb8d1" providerId="ADAL" clId="{3D355F57-3802-40E8-A1F1-61B8B41E18AD}" dt="2025-04-22T13:26:23.183" v="510" actId="20577"/>
        <pc:sldMkLst>
          <pc:docMk/>
          <pc:sldMk cId="786981567" sldId="1800"/>
        </pc:sldMkLst>
        <pc:spChg chg="mod">
          <ac:chgData name="牧野 充希(MAKINO Atsuki)" userId="e1bb11f1-fc18-4a8c-a6ff-e197300cb8d1" providerId="ADAL" clId="{3D355F57-3802-40E8-A1F1-61B8B41E18AD}" dt="2025-04-22T13:26:23.183" v="510" actId="20577"/>
          <ac:spMkLst>
            <pc:docMk/>
            <pc:sldMk cId="786981567" sldId="1800"/>
            <ac:spMk id="5" creationId="{81D1DB79-8583-A99E-540E-8CB4E3888F88}"/>
          </ac:spMkLst>
        </pc:spChg>
      </pc:sldChg>
      <pc:sldChg chg="modSp mod">
        <pc:chgData name="牧野 充希(MAKINO Atsuki)" userId="e1bb11f1-fc18-4a8c-a6ff-e197300cb8d1" providerId="ADAL" clId="{3D355F57-3802-40E8-A1F1-61B8B41E18AD}" dt="2025-04-22T13:13:02.318" v="370" actId="1036"/>
        <pc:sldMkLst>
          <pc:docMk/>
          <pc:sldMk cId="1731062681" sldId="1801"/>
        </pc:sldMkLst>
        <pc:spChg chg="mod">
          <ac:chgData name="牧野 充希(MAKINO Atsuki)" userId="e1bb11f1-fc18-4a8c-a6ff-e197300cb8d1" providerId="ADAL" clId="{3D355F57-3802-40E8-A1F1-61B8B41E18AD}" dt="2025-04-22T13:13:02.318" v="370" actId="1036"/>
          <ac:spMkLst>
            <pc:docMk/>
            <pc:sldMk cId="1731062681" sldId="1801"/>
            <ac:spMk id="9" creationId="{4EF196C3-6C2F-EAEC-23CC-6D7341178A1C}"/>
          </ac:spMkLst>
        </pc:spChg>
      </pc:sldChg>
      <pc:sldChg chg="modSp mod">
        <pc:chgData name="牧野 充希(MAKINO Atsuki)" userId="e1bb11f1-fc18-4a8c-a6ff-e197300cb8d1" providerId="ADAL" clId="{3D355F57-3802-40E8-A1F1-61B8B41E18AD}" dt="2025-04-22T13:27:07.805" v="541" actId="20577"/>
        <pc:sldMkLst>
          <pc:docMk/>
          <pc:sldMk cId="4155459258" sldId="1803"/>
        </pc:sldMkLst>
        <pc:spChg chg="mod">
          <ac:chgData name="牧野 充希(MAKINO Atsuki)" userId="e1bb11f1-fc18-4a8c-a6ff-e197300cb8d1" providerId="ADAL" clId="{3D355F57-3802-40E8-A1F1-61B8B41E18AD}" dt="2025-04-22T13:27:07.805" v="541" actId="20577"/>
          <ac:spMkLst>
            <pc:docMk/>
            <pc:sldMk cId="4155459258" sldId="1803"/>
            <ac:spMk id="8" creationId="{D7FDF8F7-1165-88FF-2A7D-D571C1D4BFAE}"/>
          </ac:spMkLst>
        </pc:spChg>
      </pc:sldChg>
      <pc:sldChg chg="modSp mod">
        <pc:chgData name="牧野 充希(MAKINO Atsuki)" userId="e1bb11f1-fc18-4a8c-a6ff-e197300cb8d1" providerId="ADAL" clId="{3D355F57-3802-40E8-A1F1-61B8B41E18AD}" dt="2025-04-22T13:20:25.377" v="393" actId="20577"/>
        <pc:sldMkLst>
          <pc:docMk/>
          <pc:sldMk cId="3494048592" sldId="1805"/>
        </pc:sldMkLst>
        <pc:spChg chg="mod">
          <ac:chgData name="牧野 充希(MAKINO Atsuki)" userId="e1bb11f1-fc18-4a8c-a6ff-e197300cb8d1" providerId="ADAL" clId="{3D355F57-3802-40E8-A1F1-61B8B41E18AD}" dt="2025-04-22T13:13:25.231" v="391" actId="1036"/>
          <ac:spMkLst>
            <pc:docMk/>
            <pc:sldMk cId="3494048592" sldId="1805"/>
            <ac:spMk id="9" creationId="{4EF196C3-6C2F-EAEC-23CC-6D7341178A1C}"/>
          </ac:spMkLst>
        </pc:spChg>
        <pc:graphicFrameChg chg="mod modGraphic">
          <ac:chgData name="牧野 充希(MAKINO Atsuki)" userId="e1bb11f1-fc18-4a8c-a6ff-e197300cb8d1" providerId="ADAL" clId="{3D355F57-3802-40E8-A1F1-61B8B41E18AD}" dt="2025-04-22T13:20:25.377" v="393" actId="20577"/>
          <ac:graphicFrameMkLst>
            <pc:docMk/>
            <pc:sldMk cId="3494048592" sldId="1805"/>
            <ac:graphicFrameMk id="8" creationId="{37C17ED4-31B5-BE1E-4D38-25AA300C4F1B}"/>
          </ac:graphicFrameMkLst>
        </pc:graphicFrameChg>
      </pc:sldChg>
      <pc:sldChg chg="modSp mod">
        <pc:chgData name="牧野 充希(MAKINO Atsuki)" userId="e1bb11f1-fc18-4a8c-a6ff-e197300cb8d1" providerId="ADAL" clId="{3D355F57-3802-40E8-A1F1-61B8B41E18AD}" dt="2025-04-22T13:20:34.347" v="395" actId="20577"/>
        <pc:sldMkLst>
          <pc:docMk/>
          <pc:sldMk cId="1539400230" sldId="1806"/>
        </pc:sldMkLst>
        <pc:spChg chg="mod">
          <ac:chgData name="牧野 充希(MAKINO Atsuki)" userId="e1bb11f1-fc18-4a8c-a6ff-e197300cb8d1" providerId="ADAL" clId="{3D355F57-3802-40E8-A1F1-61B8B41E18AD}" dt="2025-04-22T13:00:31.951" v="231" actId="1076"/>
          <ac:spMkLst>
            <pc:docMk/>
            <pc:sldMk cId="1539400230" sldId="1806"/>
            <ac:spMk id="2" creationId="{7848149B-D4FA-B760-5D11-F1A5E4E7DF97}"/>
          </ac:spMkLst>
        </pc:spChg>
        <pc:spChg chg="mod">
          <ac:chgData name="牧野 充希(MAKINO Atsuki)" userId="e1bb11f1-fc18-4a8c-a6ff-e197300cb8d1" providerId="ADAL" clId="{3D355F57-3802-40E8-A1F1-61B8B41E18AD}" dt="2025-04-22T13:05:30.485" v="356" actId="14100"/>
          <ac:spMkLst>
            <pc:docMk/>
            <pc:sldMk cId="1539400230" sldId="1806"/>
            <ac:spMk id="4" creationId="{79F07E1F-BD8A-6EF9-8286-94C1A647960B}"/>
          </ac:spMkLst>
        </pc:spChg>
        <pc:spChg chg="mod">
          <ac:chgData name="牧野 充希(MAKINO Atsuki)" userId="e1bb11f1-fc18-4a8c-a6ff-e197300cb8d1" providerId="ADAL" clId="{3D355F57-3802-40E8-A1F1-61B8B41E18AD}" dt="2025-04-22T13:05:24.815" v="354" actId="1076"/>
          <ac:spMkLst>
            <pc:docMk/>
            <pc:sldMk cId="1539400230" sldId="1806"/>
            <ac:spMk id="7" creationId="{3FB4849D-60FC-271F-FD2C-2270B52FDA46}"/>
          </ac:spMkLst>
        </pc:spChg>
        <pc:spChg chg="mod">
          <ac:chgData name="牧野 充希(MAKINO Atsuki)" userId="e1bb11f1-fc18-4a8c-a6ff-e197300cb8d1" providerId="ADAL" clId="{3D355F57-3802-40E8-A1F1-61B8B41E18AD}" dt="2025-04-22T13:13:10.741" v="382" actId="1036"/>
          <ac:spMkLst>
            <pc:docMk/>
            <pc:sldMk cId="1539400230" sldId="1806"/>
            <ac:spMk id="9" creationId="{4EF196C3-6C2F-EAEC-23CC-6D7341178A1C}"/>
          </ac:spMkLst>
        </pc:spChg>
        <pc:spChg chg="mod">
          <ac:chgData name="牧野 充希(MAKINO Atsuki)" userId="e1bb11f1-fc18-4a8c-a6ff-e197300cb8d1" providerId="ADAL" clId="{3D355F57-3802-40E8-A1F1-61B8B41E18AD}" dt="2025-04-22T13:05:27.452" v="355" actId="1076"/>
          <ac:spMkLst>
            <pc:docMk/>
            <pc:sldMk cId="1539400230" sldId="1806"/>
            <ac:spMk id="11" creationId="{6BE75387-9B28-51BA-42FE-14811FC58A67}"/>
          </ac:spMkLst>
        </pc:spChg>
        <pc:spChg chg="mod">
          <ac:chgData name="牧野 充希(MAKINO Atsuki)" userId="e1bb11f1-fc18-4a8c-a6ff-e197300cb8d1" providerId="ADAL" clId="{3D355F57-3802-40E8-A1F1-61B8B41E18AD}" dt="2025-04-22T13:05:37.462" v="357" actId="1076"/>
          <ac:spMkLst>
            <pc:docMk/>
            <pc:sldMk cId="1539400230" sldId="1806"/>
            <ac:spMk id="13" creationId="{E337FF87-CDFB-2557-A7CD-69F4779D6DF2}"/>
          </ac:spMkLst>
        </pc:spChg>
        <pc:graphicFrameChg chg="mod modGraphic">
          <ac:chgData name="牧野 充希(MAKINO Atsuki)" userId="e1bb11f1-fc18-4a8c-a6ff-e197300cb8d1" providerId="ADAL" clId="{3D355F57-3802-40E8-A1F1-61B8B41E18AD}" dt="2025-04-22T13:20:34.347" v="395" actId="20577"/>
          <ac:graphicFrameMkLst>
            <pc:docMk/>
            <pc:sldMk cId="1539400230" sldId="1806"/>
            <ac:graphicFrameMk id="8" creationId="{37C17ED4-31B5-BE1E-4D38-25AA300C4F1B}"/>
          </ac:graphicFrameMkLst>
        </pc:graphicFrameChg>
      </pc:sldChg>
      <pc:sldChg chg="modSp mod">
        <pc:chgData name="牧野 充希(MAKINO Atsuki)" userId="e1bb11f1-fc18-4a8c-a6ff-e197300cb8d1" providerId="ADAL" clId="{3D355F57-3802-40E8-A1F1-61B8B41E18AD}" dt="2025-04-22T13:35:24.920" v="750" actId="20577"/>
        <pc:sldMkLst>
          <pc:docMk/>
          <pc:sldMk cId="3361803510" sldId="1807"/>
        </pc:sldMkLst>
        <pc:spChg chg="mod">
          <ac:chgData name="牧野 充希(MAKINO Atsuki)" userId="e1bb11f1-fc18-4a8c-a6ff-e197300cb8d1" providerId="ADAL" clId="{3D355F57-3802-40E8-A1F1-61B8B41E18AD}" dt="2025-04-22T13:35:24.920" v="750" actId="20577"/>
          <ac:spMkLst>
            <pc:docMk/>
            <pc:sldMk cId="3361803510" sldId="1807"/>
            <ac:spMk id="8" creationId="{D7FDF8F7-1165-88FF-2A7D-D571C1D4BFAE}"/>
          </ac:spMkLst>
        </pc:spChg>
        <pc:graphicFrameChg chg="modGraphic">
          <ac:chgData name="牧野 充希(MAKINO Atsuki)" userId="e1bb11f1-fc18-4a8c-a6ff-e197300cb8d1" providerId="ADAL" clId="{3D355F57-3802-40E8-A1F1-61B8B41E18AD}" dt="2025-04-22T12:41:30.322" v="2" actId="20577"/>
          <ac:graphicFrameMkLst>
            <pc:docMk/>
            <pc:sldMk cId="3361803510" sldId="1807"/>
            <ac:graphicFrameMk id="11" creationId="{ACF7D667-AD41-DFCA-B65A-E63FABE01CF7}"/>
          </ac:graphicFrameMkLst>
        </pc:graphicFrameChg>
      </pc:sldChg>
      <pc:sldChg chg="addSp delSp modSp mod">
        <pc:chgData name="牧野 充希(MAKINO Atsuki)" userId="e1bb11f1-fc18-4a8c-a6ff-e197300cb8d1" providerId="ADAL" clId="{3D355F57-3802-40E8-A1F1-61B8B41E18AD}" dt="2025-04-22T13:34:35.666" v="727" actId="20577"/>
        <pc:sldMkLst>
          <pc:docMk/>
          <pc:sldMk cId="2260495983" sldId="1808"/>
        </pc:sldMkLst>
        <pc:spChg chg="mod">
          <ac:chgData name="牧野 充希(MAKINO Atsuki)" userId="e1bb11f1-fc18-4a8c-a6ff-e197300cb8d1" providerId="ADAL" clId="{3D355F57-3802-40E8-A1F1-61B8B41E18AD}" dt="2025-04-22T13:22:59.295" v="423" actId="1076"/>
          <ac:spMkLst>
            <pc:docMk/>
            <pc:sldMk cId="2260495983" sldId="1808"/>
            <ac:spMk id="3" creationId="{5574DA80-DC80-8417-D3D5-9208D8C811E5}"/>
          </ac:spMkLst>
        </pc:spChg>
        <pc:spChg chg="del">
          <ac:chgData name="牧野 充希(MAKINO Atsuki)" userId="e1bb11f1-fc18-4a8c-a6ff-e197300cb8d1" providerId="ADAL" clId="{3D355F57-3802-40E8-A1F1-61B8B41E18AD}" dt="2025-04-22T13:00:40.322" v="232" actId="478"/>
          <ac:spMkLst>
            <pc:docMk/>
            <pc:sldMk cId="2260495983" sldId="1808"/>
            <ac:spMk id="4" creationId="{14406E2A-5AD1-7701-3F05-846C7E4F2E70}"/>
          </ac:spMkLst>
        </pc:spChg>
        <pc:spChg chg="add del mod">
          <ac:chgData name="牧野 充希(MAKINO Atsuki)" userId="e1bb11f1-fc18-4a8c-a6ff-e197300cb8d1" providerId="ADAL" clId="{3D355F57-3802-40E8-A1F1-61B8B41E18AD}" dt="2025-04-22T13:00:56.885" v="246" actId="478"/>
          <ac:spMkLst>
            <pc:docMk/>
            <pc:sldMk cId="2260495983" sldId="1808"/>
            <ac:spMk id="8" creationId="{ED115C34-24B9-AF23-80D7-30B34FAF00A3}"/>
          </ac:spMkLst>
        </pc:spChg>
        <pc:spChg chg="add mod">
          <ac:chgData name="牧野 充希(MAKINO Atsuki)" userId="e1bb11f1-fc18-4a8c-a6ff-e197300cb8d1" providerId="ADAL" clId="{3D355F57-3802-40E8-A1F1-61B8B41E18AD}" dt="2025-04-22T13:33:30.285" v="702" actId="14100"/>
          <ac:spMkLst>
            <pc:docMk/>
            <pc:sldMk cId="2260495983" sldId="1808"/>
            <ac:spMk id="10" creationId="{157B9238-C8F7-6EF9-E7F1-5D866F3F3428}"/>
          </ac:spMkLst>
        </pc:spChg>
        <pc:spChg chg="add mod">
          <ac:chgData name="牧野 充希(MAKINO Atsuki)" userId="e1bb11f1-fc18-4a8c-a6ff-e197300cb8d1" providerId="ADAL" clId="{3D355F57-3802-40E8-A1F1-61B8B41E18AD}" dt="2025-04-22T13:34:06.580" v="717" actId="14100"/>
          <ac:spMkLst>
            <pc:docMk/>
            <pc:sldMk cId="2260495983" sldId="1808"/>
            <ac:spMk id="11" creationId="{A6FEC48D-2192-B6A1-7819-F99A0FB8E3C8}"/>
          </ac:spMkLst>
        </pc:spChg>
        <pc:spChg chg="add mod">
          <ac:chgData name="牧野 充希(MAKINO Atsuki)" userId="e1bb11f1-fc18-4a8c-a6ff-e197300cb8d1" providerId="ADAL" clId="{3D355F57-3802-40E8-A1F1-61B8B41E18AD}" dt="2025-04-22T13:34:02.450" v="716" actId="1076"/>
          <ac:spMkLst>
            <pc:docMk/>
            <pc:sldMk cId="2260495983" sldId="1808"/>
            <ac:spMk id="12" creationId="{559C4F27-F4B5-2A27-74B9-383B1100DE2C}"/>
          </ac:spMkLst>
        </pc:spChg>
        <pc:spChg chg="add mod">
          <ac:chgData name="牧野 充希(MAKINO Atsuki)" userId="e1bb11f1-fc18-4a8c-a6ff-e197300cb8d1" providerId="ADAL" clId="{3D355F57-3802-40E8-A1F1-61B8B41E18AD}" dt="2025-04-22T13:34:09.614" v="718" actId="1076"/>
          <ac:spMkLst>
            <pc:docMk/>
            <pc:sldMk cId="2260495983" sldId="1808"/>
            <ac:spMk id="13" creationId="{69EA179D-135A-FAD4-A016-A9409BECFC56}"/>
          </ac:spMkLst>
        </pc:spChg>
        <pc:spChg chg="add mod">
          <ac:chgData name="牧野 充希(MAKINO Atsuki)" userId="e1bb11f1-fc18-4a8c-a6ff-e197300cb8d1" providerId="ADAL" clId="{3D355F57-3802-40E8-A1F1-61B8B41E18AD}" dt="2025-04-22T13:23:56.242" v="449"/>
          <ac:spMkLst>
            <pc:docMk/>
            <pc:sldMk cId="2260495983" sldId="1808"/>
            <ac:spMk id="14" creationId="{E1BDA46B-F95C-B35E-526E-606580E2D4E5}"/>
          </ac:spMkLst>
        </pc:spChg>
        <pc:spChg chg="add mod">
          <ac:chgData name="牧野 充希(MAKINO Atsuki)" userId="e1bb11f1-fc18-4a8c-a6ff-e197300cb8d1" providerId="ADAL" clId="{3D355F57-3802-40E8-A1F1-61B8B41E18AD}" dt="2025-04-22T13:24:03.575" v="452"/>
          <ac:spMkLst>
            <pc:docMk/>
            <pc:sldMk cId="2260495983" sldId="1808"/>
            <ac:spMk id="15" creationId="{1F155885-71BB-9310-E93B-04FF3A0A0F63}"/>
          </ac:spMkLst>
        </pc:spChg>
        <pc:spChg chg="add mod">
          <ac:chgData name="牧野 充希(MAKINO Atsuki)" userId="e1bb11f1-fc18-4a8c-a6ff-e197300cb8d1" providerId="ADAL" clId="{3D355F57-3802-40E8-A1F1-61B8B41E18AD}" dt="2025-04-22T13:24:07.817" v="453"/>
          <ac:spMkLst>
            <pc:docMk/>
            <pc:sldMk cId="2260495983" sldId="1808"/>
            <ac:spMk id="16" creationId="{2E432413-53A4-DD33-03AE-F48731557CF1}"/>
          </ac:spMkLst>
        </pc:spChg>
        <pc:spChg chg="add mod">
          <ac:chgData name="牧野 充希(MAKINO Atsuki)" userId="e1bb11f1-fc18-4a8c-a6ff-e197300cb8d1" providerId="ADAL" clId="{3D355F57-3802-40E8-A1F1-61B8B41E18AD}" dt="2025-04-22T13:34:13.429" v="719" actId="1076"/>
          <ac:spMkLst>
            <pc:docMk/>
            <pc:sldMk cId="2260495983" sldId="1808"/>
            <ac:spMk id="17" creationId="{FC97EB71-27EF-8FB7-C9AF-E605B29740FD}"/>
          </ac:spMkLst>
        </pc:spChg>
        <pc:spChg chg="add mod">
          <ac:chgData name="牧野 充希(MAKINO Atsuki)" userId="e1bb11f1-fc18-4a8c-a6ff-e197300cb8d1" providerId="ADAL" clId="{3D355F57-3802-40E8-A1F1-61B8B41E18AD}" dt="2025-04-22T13:24:15.265" v="455"/>
          <ac:spMkLst>
            <pc:docMk/>
            <pc:sldMk cId="2260495983" sldId="1808"/>
            <ac:spMk id="18" creationId="{3A226DC6-F77C-3D6E-E0CE-BCE06EE3706C}"/>
          </ac:spMkLst>
        </pc:spChg>
        <pc:graphicFrameChg chg="mod modGraphic">
          <ac:chgData name="牧野 充希(MAKINO Atsuki)" userId="e1bb11f1-fc18-4a8c-a6ff-e197300cb8d1" providerId="ADAL" clId="{3D355F57-3802-40E8-A1F1-61B8B41E18AD}" dt="2025-04-22T13:34:35.666" v="727" actId="20577"/>
          <ac:graphicFrameMkLst>
            <pc:docMk/>
            <pc:sldMk cId="2260495983" sldId="1808"/>
            <ac:graphicFrameMk id="2" creationId="{AC417C49-8970-3FBF-DACA-7F241776FB0E}"/>
          </ac:graphicFrameMkLst>
        </pc:graphicFrameChg>
      </pc:sldChg>
      <pc:sldChg chg="modSp mod">
        <pc:chgData name="牧野 充希(MAKINO Atsuki)" userId="e1bb11f1-fc18-4a8c-a6ff-e197300cb8d1" providerId="ADAL" clId="{3D355F57-3802-40E8-A1F1-61B8B41E18AD}" dt="2025-04-22T13:35:30.292" v="756" actId="20577"/>
        <pc:sldMkLst>
          <pc:docMk/>
          <pc:sldMk cId="2538732313" sldId="1809"/>
        </pc:sldMkLst>
        <pc:spChg chg="mod">
          <ac:chgData name="牧野 充希(MAKINO Atsuki)" userId="e1bb11f1-fc18-4a8c-a6ff-e197300cb8d1" providerId="ADAL" clId="{3D355F57-3802-40E8-A1F1-61B8B41E18AD}" dt="2025-04-22T13:35:30.292" v="756" actId="20577"/>
          <ac:spMkLst>
            <pc:docMk/>
            <pc:sldMk cId="2538732313" sldId="1809"/>
            <ac:spMk id="8" creationId="{D7FDF8F7-1165-88FF-2A7D-D571C1D4BFAE}"/>
          </ac:spMkLst>
        </pc:spChg>
        <pc:spChg chg="mod">
          <ac:chgData name="牧野 充希(MAKINO Atsuki)" userId="e1bb11f1-fc18-4a8c-a6ff-e197300cb8d1" providerId="ADAL" clId="{3D355F57-3802-40E8-A1F1-61B8B41E18AD}" dt="2025-04-22T13:35:00.603" v="736" actId="1076"/>
          <ac:spMkLst>
            <pc:docMk/>
            <pc:sldMk cId="2538732313" sldId="1809"/>
            <ac:spMk id="10" creationId="{E0B7F90D-41B6-9999-3DDD-7F90D5796ACB}"/>
          </ac:spMkLst>
        </pc:spChg>
        <pc:picChg chg="mod">
          <ac:chgData name="牧野 充希(MAKINO Atsuki)" userId="e1bb11f1-fc18-4a8c-a6ff-e197300cb8d1" providerId="ADAL" clId="{3D355F57-3802-40E8-A1F1-61B8B41E18AD}" dt="2025-04-22T13:35:00.603" v="736" actId="1076"/>
          <ac:picMkLst>
            <pc:docMk/>
            <pc:sldMk cId="2538732313" sldId="1809"/>
            <ac:picMk id="9" creationId="{E01DB259-E313-9794-669F-73279F11009F}"/>
          </ac:picMkLst>
        </pc:picChg>
      </pc:sldChg>
      <pc:sldChg chg="modSp mod">
        <pc:chgData name="牧野 充希(MAKINO Atsuki)" userId="e1bb11f1-fc18-4a8c-a6ff-e197300cb8d1" providerId="ADAL" clId="{3D355F57-3802-40E8-A1F1-61B8B41E18AD}" dt="2025-04-22T13:13:04.783" v="373" actId="1036"/>
        <pc:sldMkLst>
          <pc:docMk/>
          <pc:sldMk cId="4036958067" sldId="1810"/>
        </pc:sldMkLst>
        <pc:spChg chg="mod">
          <ac:chgData name="牧野 充希(MAKINO Atsuki)" userId="e1bb11f1-fc18-4a8c-a6ff-e197300cb8d1" providerId="ADAL" clId="{3D355F57-3802-40E8-A1F1-61B8B41E18AD}" dt="2025-04-22T13:13:04.783" v="373" actId="1036"/>
          <ac:spMkLst>
            <pc:docMk/>
            <pc:sldMk cId="4036958067" sldId="1810"/>
            <ac:spMk id="9" creationId="{4EF196C3-6C2F-EAEC-23CC-6D7341178A1C}"/>
          </ac:spMkLst>
        </pc:spChg>
      </pc:sldChg>
      <pc:sldChg chg="addSp delSp modSp add del mod">
        <pc:chgData name="牧野 充希(MAKINO Atsuki)" userId="e1bb11f1-fc18-4a8c-a6ff-e197300cb8d1" providerId="ADAL" clId="{3D355F57-3802-40E8-A1F1-61B8B41E18AD}" dt="2025-04-22T13:24:17.355" v="456" actId="2696"/>
        <pc:sldMkLst>
          <pc:docMk/>
          <pc:sldMk cId="1836974008" sldId="1811"/>
        </pc:sldMkLst>
        <pc:spChg chg="mod">
          <ac:chgData name="牧野 充希(MAKINO Atsuki)" userId="e1bb11f1-fc18-4a8c-a6ff-e197300cb8d1" providerId="ADAL" clId="{3D355F57-3802-40E8-A1F1-61B8B41E18AD}" dt="2025-04-22T13:13:19.188" v="390" actId="1036"/>
          <ac:spMkLst>
            <pc:docMk/>
            <pc:sldMk cId="1836974008" sldId="1811"/>
            <ac:spMk id="3" creationId="{5574DA80-DC80-8417-D3D5-9208D8C811E5}"/>
          </ac:spMkLst>
        </pc:spChg>
        <pc:spChg chg="del">
          <ac:chgData name="牧野 充希(MAKINO Atsuki)" userId="e1bb11f1-fc18-4a8c-a6ff-e197300cb8d1" providerId="ADAL" clId="{3D355F57-3802-40E8-A1F1-61B8B41E18AD}" dt="2025-04-22T13:00:48.279" v="244" actId="478"/>
          <ac:spMkLst>
            <pc:docMk/>
            <pc:sldMk cId="1836974008" sldId="1811"/>
            <ac:spMk id="4" creationId="{14406E2A-5AD1-7701-3F05-846C7E4F2E70}"/>
          </ac:spMkLst>
        </pc:spChg>
        <pc:spChg chg="add mod">
          <ac:chgData name="牧野 充希(MAKINO Atsuki)" userId="e1bb11f1-fc18-4a8c-a6ff-e197300cb8d1" providerId="ADAL" clId="{3D355F57-3802-40E8-A1F1-61B8B41E18AD}" dt="2025-04-22T12:57:52.039" v="176" actId="14100"/>
          <ac:spMkLst>
            <pc:docMk/>
            <pc:sldMk cId="1836974008" sldId="1811"/>
            <ac:spMk id="8" creationId="{18190CD3-D99E-63F7-C59F-FB33DFBFA586}"/>
          </ac:spMkLst>
        </pc:spChg>
        <pc:spChg chg="add mod">
          <ac:chgData name="牧野 充希(MAKINO Atsuki)" userId="e1bb11f1-fc18-4a8c-a6ff-e197300cb8d1" providerId="ADAL" clId="{3D355F57-3802-40E8-A1F1-61B8B41E18AD}" dt="2025-04-22T12:58:16.403" v="181" actId="14100"/>
          <ac:spMkLst>
            <pc:docMk/>
            <pc:sldMk cId="1836974008" sldId="1811"/>
            <ac:spMk id="11" creationId="{0767C3B8-2636-2BF0-9D31-8419E521B753}"/>
          </ac:spMkLst>
        </pc:spChg>
        <pc:spChg chg="add mod">
          <ac:chgData name="牧野 充希(MAKINO Atsuki)" userId="e1bb11f1-fc18-4a8c-a6ff-e197300cb8d1" providerId="ADAL" clId="{3D355F57-3802-40E8-A1F1-61B8B41E18AD}" dt="2025-04-22T12:58:24.894" v="184" actId="14100"/>
          <ac:spMkLst>
            <pc:docMk/>
            <pc:sldMk cId="1836974008" sldId="1811"/>
            <ac:spMk id="12" creationId="{0415D830-8C8C-2DB8-B234-EB520CFD2A6D}"/>
          </ac:spMkLst>
        </pc:spChg>
        <pc:spChg chg="add mod">
          <ac:chgData name="牧野 充希(MAKINO Atsuki)" userId="e1bb11f1-fc18-4a8c-a6ff-e197300cb8d1" providerId="ADAL" clId="{3D355F57-3802-40E8-A1F1-61B8B41E18AD}" dt="2025-04-22T12:58:40.476" v="189" actId="14100"/>
          <ac:spMkLst>
            <pc:docMk/>
            <pc:sldMk cId="1836974008" sldId="1811"/>
            <ac:spMk id="13" creationId="{7F07D41F-7BCD-D882-4E92-E05A10235CC8}"/>
          </ac:spMkLst>
        </pc:spChg>
        <pc:spChg chg="add mod">
          <ac:chgData name="牧野 充希(MAKINO Atsuki)" userId="e1bb11f1-fc18-4a8c-a6ff-e197300cb8d1" providerId="ADAL" clId="{3D355F57-3802-40E8-A1F1-61B8B41E18AD}" dt="2025-04-22T13:01:03.414" v="250" actId="20577"/>
          <ac:spMkLst>
            <pc:docMk/>
            <pc:sldMk cId="1836974008" sldId="1811"/>
            <ac:spMk id="14" creationId="{0A1791CE-7DF1-B81F-98B1-2927DA33A2CD}"/>
          </ac:spMkLst>
        </pc:spChg>
        <pc:spChg chg="add mod">
          <ac:chgData name="牧野 充希(MAKINO Atsuki)" userId="e1bb11f1-fc18-4a8c-a6ff-e197300cb8d1" providerId="ADAL" clId="{3D355F57-3802-40E8-A1F1-61B8B41E18AD}" dt="2025-04-22T13:01:05.618" v="251" actId="20577"/>
          <ac:spMkLst>
            <pc:docMk/>
            <pc:sldMk cId="1836974008" sldId="1811"/>
            <ac:spMk id="15" creationId="{E230DFF3-7AAF-9AE0-3257-6510974EEF80}"/>
          </ac:spMkLst>
        </pc:spChg>
        <pc:spChg chg="add mod">
          <ac:chgData name="牧野 充希(MAKINO Atsuki)" userId="e1bb11f1-fc18-4a8c-a6ff-e197300cb8d1" providerId="ADAL" clId="{3D355F57-3802-40E8-A1F1-61B8B41E18AD}" dt="2025-04-22T12:59:18.580" v="199" actId="20577"/>
          <ac:spMkLst>
            <pc:docMk/>
            <pc:sldMk cId="1836974008" sldId="1811"/>
            <ac:spMk id="16" creationId="{A1CC7718-81A3-4534-CD7F-7A8740E69955}"/>
          </ac:spMkLst>
        </pc:spChg>
        <pc:spChg chg="add mod">
          <ac:chgData name="牧野 充希(MAKINO Atsuki)" userId="e1bb11f1-fc18-4a8c-a6ff-e197300cb8d1" providerId="ADAL" clId="{3D355F57-3802-40E8-A1F1-61B8B41E18AD}" dt="2025-04-22T13:01:09.503" v="252" actId="20577"/>
          <ac:spMkLst>
            <pc:docMk/>
            <pc:sldMk cId="1836974008" sldId="1811"/>
            <ac:spMk id="17" creationId="{85387BF5-57C7-8561-911A-8EAD2BB2CCF9}"/>
          </ac:spMkLst>
        </pc:spChg>
        <pc:spChg chg="add mod">
          <ac:chgData name="牧野 充希(MAKINO Atsuki)" userId="e1bb11f1-fc18-4a8c-a6ff-e197300cb8d1" providerId="ADAL" clId="{3D355F57-3802-40E8-A1F1-61B8B41E18AD}" dt="2025-04-22T13:00:48.511" v="245"/>
          <ac:spMkLst>
            <pc:docMk/>
            <pc:sldMk cId="1836974008" sldId="1811"/>
            <ac:spMk id="18" creationId="{D74317CD-EC2F-A9D2-D497-04804CD97073}"/>
          </ac:spMkLst>
        </pc:spChg>
        <pc:graphicFrameChg chg="modGraphic">
          <ac:chgData name="牧野 充希(MAKINO Atsuki)" userId="e1bb11f1-fc18-4a8c-a6ff-e197300cb8d1" providerId="ADAL" clId="{3D355F57-3802-40E8-A1F1-61B8B41E18AD}" dt="2025-04-22T13:20:48.365" v="399" actId="20577"/>
          <ac:graphicFrameMkLst>
            <pc:docMk/>
            <pc:sldMk cId="1836974008" sldId="1811"/>
            <ac:graphicFrameMk id="2" creationId="{AC417C49-8970-3FBF-DACA-7F241776FB0E}"/>
          </ac:graphicFrameMkLst>
        </pc:graphicFrameChg>
        <pc:graphicFrameChg chg="add mod">
          <ac:chgData name="牧野 充希(MAKINO Atsuki)" userId="e1bb11f1-fc18-4a8c-a6ff-e197300cb8d1" providerId="ADAL" clId="{3D355F57-3802-40E8-A1F1-61B8B41E18AD}" dt="2025-04-22T12:57:58.887" v="177"/>
          <ac:graphicFrameMkLst>
            <pc:docMk/>
            <pc:sldMk cId="1836974008" sldId="1811"/>
            <ac:graphicFrameMk id="10" creationId="{550B9840-2E6E-D898-D993-33BF267C6BD9}"/>
          </ac:graphicFrameMkLst>
        </pc:graphicFrameChg>
      </pc:sldChg>
      <pc:sldChg chg="addSp modSp add del">
        <pc:chgData name="牧野 充希(MAKINO Atsuki)" userId="e1bb11f1-fc18-4a8c-a6ff-e197300cb8d1" providerId="ADAL" clId="{3D355F57-3802-40E8-A1F1-61B8B41E18AD}" dt="2025-04-22T12:57:31.271" v="163" actId="2696"/>
        <pc:sldMkLst>
          <pc:docMk/>
          <pc:sldMk cId="4079259579" sldId="1811"/>
        </pc:sldMkLst>
        <pc:spChg chg="add mod">
          <ac:chgData name="牧野 充希(MAKINO Atsuki)" userId="e1bb11f1-fc18-4a8c-a6ff-e197300cb8d1" providerId="ADAL" clId="{3D355F57-3802-40E8-A1F1-61B8B41E18AD}" dt="2025-04-22T12:57:17.315" v="162"/>
          <ac:spMkLst>
            <pc:docMk/>
            <pc:sldMk cId="4079259579" sldId="1811"/>
            <ac:spMk id="8" creationId="{61A9E7BC-5414-AA97-0013-D0B9C5D82DCC}"/>
          </ac:spMkLst>
        </pc:spChg>
      </pc:sldChg>
      <pc:sldChg chg="modSp add mod ord">
        <pc:chgData name="牧野 充希(MAKINO Atsuki)" userId="e1bb11f1-fc18-4a8c-a6ff-e197300cb8d1" providerId="ADAL" clId="{3D355F57-3802-40E8-A1F1-61B8B41E18AD}" dt="2025-04-22T13:34:39.703" v="735" actId="20577"/>
        <pc:sldMkLst>
          <pc:docMk/>
          <pc:sldMk cId="4267065186" sldId="1812"/>
        </pc:sldMkLst>
        <pc:graphicFrameChg chg="modGraphic">
          <ac:chgData name="牧野 充希(MAKINO Atsuki)" userId="e1bb11f1-fc18-4a8c-a6ff-e197300cb8d1" providerId="ADAL" clId="{3D355F57-3802-40E8-A1F1-61B8B41E18AD}" dt="2025-04-22T13:34:39.703" v="735" actId="20577"/>
          <ac:graphicFrameMkLst>
            <pc:docMk/>
            <pc:sldMk cId="4267065186" sldId="1812"/>
            <ac:graphicFrameMk id="2" creationId="{AC417C49-8970-3FBF-DACA-7F241776FB0E}"/>
          </ac:graphicFrameMkLst>
        </pc:graphicFrameChg>
      </pc:sldChg>
    </pc:docChg>
  </pc:docChgLst>
  <pc:docChgLst>
    <pc:chgData name="牧野 充希(MAKINO Atsuki)" userId="e1bb11f1-fc18-4a8c-a6ff-e197300cb8d1" providerId="ADAL" clId="{F7A8CBFF-2C98-4C0B-80BE-02253EEE2A33}"/>
    <pc:docChg chg="undo custSel modSld">
      <pc:chgData name="牧野 充希(MAKINO Atsuki)" userId="e1bb11f1-fc18-4a8c-a6ff-e197300cb8d1" providerId="ADAL" clId="{F7A8CBFF-2C98-4C0B-80BE-02253EEE2A33}" dt="2025-05-09T06:18:36.901" v="208" actId="1076"/>
      <pc:docMkLst>
        <pc:docMk/>
      </pc:docMkLst>
      <pc:sldChg chg="modSp mod">
        <pc:chgData name="牧野 充希(MAKINO Atsuki)" userId="e1bb11f1-fc18-4a8c-a6ff-e197300cb8d1" providerId="ADAL" clId="{F7A8CBFF-2C98-4C0B-80BE-02253EEE2A33}" dt="2025-05-09T05:46:57.799" v="10" actId="20577"/>
        <pc:sldMkLst>
          <pc:docMk/>
          <pc:sldMk cId="786981567" sldId="1800"/>
        </pc:sldMkLst>
        <pc:spChg chg="mod">
          <ac:chgData name="牧野 充希(MAKINO Atsuki)" userId="e1bb11f1-fc18-4a8c-a6ff-e197300cb8d1" providerId="ADAL" clId="{F7A8CBFF-2C98-4C0B-80BE-02253EEE2A33}" dt="2025-05-09T05:46:57.799" v="10" actId="20577"/>
          <ac:spMkLst>
            <pc:docMk/>
            <pc:sldMk cId="786981567" sldId="1800"/>
            <ac:spMk id="5" creationId="{81D1DB79-8583-A99E-540E-8CB4E3888F88}"/>
          </ac:spMkLst>
        </pc:spChg>
      </pc:sldChg>
      <pc:sldChg chg="modSp mod">
        <pc:chgData name="牧野 充希(MAKINO Atsuki)" userId="e1bb11f1-fc18-4a8c-a6ff-e197300cb8d1" providerId="ADAL" clId="{F7A8CBFF-2C98-4C0B-80BE-02253EEE2A33}" dt="2025-05-09T06:18:09.731" v="195" actId="20577"/>
        <pc:sldMkLst>
          <pc:docMk/>
          <pc:sldMk cId="1731062681" sldId="1801"/>
        </pc:sldMkLst>
        <pc:graphicFrameChg chg="mod modGraphic">
          <ac:chgData name="牧野 充希(MAKINO Atsuki)" userId="e1bb11f1-fc18-4a8c-a6ff-e197300cb8d1" providerId="ADAL" clId="{F7A8CBFF-2C98-4C0B-80BE-02253EEE2A33}" dt="2025-05-09T06:18:09.731" v="195" actId="20577"/>
          <ac:graphicFrameMkLst>
            <pc:docMk/>
            <pc:sldMk cId="1731062681" sldId="1801"/>
            <ac:graphicFrameMk id="8" creationId="{37C17ED4-31B5-BE1E-4D38-25AA300C4F1B}"/>
          </ac:graphicFrameMkLst>
        </pc:graphicFrameChg>
      </pc:sldChg>
      <pc:sldChg chg="modSp mod">
        <pc:chgData name="牧野 充希(MAKINO Atsuki)" userId="e1bb11f1-fc18-4a8c-a6ff-e197300cb8d1" providerId="ADAL" clId="{F7A8CBFF-2C98-4C0B-80BE-02253EEE2A33}" dt="2025-05-09T05:52:01.424" v="99" actId="20577"/>
        <pc:sldMkLst>
          <pc:docMk/>
          <pc:sldMk cId="3494048592" sldId="1805"/>
        </pc:sldMkLst>
        <pc:graphicFrameChg chg="mod modGraphic">
          <ac:chgData name="牧野 充希(MAKINO Atsuki)" userId="e1bb11f1-fc18-4a8c-a6ff-e197300cb8d1" providerId="ADAL" clId="{F7A8CBFF-2C98-4C0B-80BE-02253EEE2A33}" dt="2025-05-09T05:52:01.424" v="99" actId="20577"/>
          <ac:graphicFrameMkLst>
            <pc:docMk/>
            <pc:sldMk cId="3494048592" sldId="1805"/>
            <ac:graphicFrameMk id="8" creationId="{37C17ED4-31B5-BE1E-4D38-25AA300C4F1B}"/>
          </ac:graphicFrameMkLst>
        </pc:graphicFrameChg>
      </pc:sldChg>
      <pc:sldChg chg="modSp mod">
        <pc:chgData name="牧野 充希(MAKINO Atsuki)" userId="e1bb11f1-fc18-4a8c-a6ff-e197300cb8d1" providerId="ADAL" clId="{F7A8CBFF-2C98-4C0B-80BE-02253EEE2A33}" dt="2025-05-09T05:51:45.990" v="96" actId="20577"/>
        <pc:sldMkLst>
          <pc:docMk/>
          <pc:sldMk cId="1539400230" sldId="1806"/>
        </pc:sldMkLst>
        <pc:graphicFrameChg chg="mod modGraphic">
          <ac:chgData name="牧野 充希(MAKINO Atsuki)" userId="e1bb11f1-fc18-4a8c-a6ff-e197300cb8d1" providerId="ADAL" clId="{F7A8CBFF-2C98-4C0B-80BE-02253EEE2A33}" dt="2025-05-09T05:51:45.990" v="96" actId="20577"/>
          <ac:graphicFrameMkLst>
            <pc:docMk/>
            <pc:sldMk cId="1539400230" sldId="1806"/>
            <ac:graphicFrameMk id="8" creationId="{37C17ED4-31B5-BE1E-4D38-25AA300C4F1B}"/>
          </ac:graphicFrameMkLst>
        </pc:graphicFrameChg>
      </pc:sldChg>
      <pc:sldChg chg="modSp mod">
        <pc:chgData name="牧野 充希(MAKINO Atsuki)" userId="e1bb11f1-fc18-4a8c-a6ff-e197300cb8d1" providerId="ADAL" clId="{F7A8CBFF-2C98-4C0B-80BE-02253EEE2A33}" dt="2025-05-09T05:52:39.468" v="124"/>
        <pc:sldMkLst>
          <pc:docMk/>
          <pc:sldMk cId="2260495983" sldId="1808"/>
        </pc:sldMkLst>
        <pc:graphicFrameChg chg="mod modGraphic">
          <ac:chgData name="牧野 充希(MAKINO Atsuki)" userId="e1bb11f1-fc18-4a8c-a6ff-e197300cb8d1" providerId="ADAL" clId="{F7A8CBFF-2C98-4C0B-80BE-02253EEE2A33}" dt="2025-05-09T05:52:39.468" v="124"/>
          <ac:graphicFrameMkLst>
            <pc:docMk/>
            <pc:sldMk cId="2260495983" sldId="1808"/>
            <ac:graphicFrameMk id="2" creationId="{AC417C49-8970-3FBF-DACA-7F241776FB0E}"/>
          </ac:graphicFrameMkLst>
        </pc:graphicFrameChg>
      </pc:sldChg>
      <pc:sldChg chg="modSp mod">
        <pc:chgData name="牧野 充希(MAKINO Atsuki)" userId="e1bb11f1-fc18-4a8c-a6ff-e197300cb8d1" providerId="ADAL" clId="{F7A8CBFF-2C98-4C0B-80BE-02253EEE2A33}" dt="2025-05-09T06:18:36.901" v="208" actId="1076"/>
        <pc:sldMkLst>
          <pc:docMk/>
          <pc:sldMk cId="4036958067" sldId="1810"/>
        </pc:sldMkLst>
        <pc:spChg chg="mod">
          <ac:chgData name="牧野 充希(MAKINO Atsuki)" userId="e1bb11f1-fc18-4a8c-a6ff-e197300cb8d1" providerId="ADAL" clId="{F7A8CBFF-2C98-4C0B-80BE-02253EEE2A33}" dt="2025-05-09T06:18:36.901" v="208" actId="1076"/>
          <ac:spMkLst>
            <pc:docMk/>
            <pc:sldMk cId="4036958067" sldId="1810"/>
            <ac:spMk id="13" creationId="{340947B3-F05D-517A-FFD9-7826CA92BDAC}"/>
          </ac:spMkLst>
        </pc:spChg>
        <pc:graphicFrameChg chg="mod modGraphic">
          <ac:chgData name="牧野 充希(MAKINO Atsuki)" userId="e1bb11f1-fc18-4a8c-a6ff-e197300cb8d1" providerId="ADAL" clId="{F7A8CBFF-2C98-4C0B-80BE-02253EEE2A33}" dt="2025-05-09T06:18:15.976" v="206" actId="20577"/>
          <ac:graphicFrameMkLst>
            <pc:docMk/>
            <pc:sldMk cId="4036958067" sldId="1810"/>
            <ac:graphicFrameMk id="8" creationId="{37C17ED4-31B5-BE1E-4D38-25AA300C4F1B}"/>
          </ac:graphicFrameMkLst>
        </pc:graphicFrameChg>
      </pc:sldChg>
      <pc:sldChg chg="modSp mod">
        <pc:chgData name="牧野 充希(MAKINO Atsuki)" userId="e1bb11f1-fc18-4a8c-a6ff-e197300cb8d1" providerId="ADAL" clId="{F7A8CBFF-2C98-4C0B-80BE-02253EEE2A33}" dt="2025-05-09T05:52:25.141" v="123" actId="20577"/>
        <pc:sldMkLst>
          <pc:docMk/>
          <pc:sldMk cId="4267065186" sldId="1812"/>
        </pc:sldMkLst>
        <pc:graphicFrameChg chg="modGraphic">
          <ac:chgData name="牧野 充希(MAKINO Atsuki)" userId="e1bb11f1-fc18-4a8c-a6ff-e197300cb8d1" providerId="ADAL" clId="{F7A8CBFF-2C98-4C0B-80BE-02253EEE2A33}" dt="2025-05-09T05:52:25.141" v="123" actId="20577"/>
          <ac:graphicFrameMkLst>
            <pc:docMk/>
            <pc:sldMk cId="4267065186" sldId="1812"/>
            <ac:graphicFrameMk id="2" creationId="{AC417C49-8970-3FBF-DACA-7F241776FB0E}"/>
          </ac:graphicFrameMkLst>
        </pc:graphicFrameChg>
      </pc:sldChg>
    </pc:docChg>
  </pc:docChgLst>
  <pc:docChgLst>
    <pc:chgData name="西村 笙平(NISHIMURA Shohei)" userId="d08d2c33-9814-43fe-9d7b-ea3e5d006c86" providerId="ADAL" clId="{9C74C3F1-FD87-46E1-93A6-4137E9CDD8EF}"/>
    <pc:docChg chg="undo custSel delSld modSld modSection">
      <pc:chgData name="西村 笙平(NISHIMURA Shohei)" userId="d08d2c33-9814-43fe-9d7b-ea3e5d006c86" providerId="ADAL" clId="{9C74C3F1-FD87-46E1-93A6-4137E9CDD8EF}" dt="2025-04-15T10:21:43.012" v="141" actId="20577"/>
      <pc:docMkLst>
        <pc:docMk/>
      </pc:docMkLst>
      <pc:sldChg chg="modSp mod">
        <pc:chgData name="西村 笙平(NISHIMURA Shohei)" userId="d08d2c33-9814-43fe-9d7b-ea3e5d006c86" providerId="ADAL" clId="{9C74C3F1-FD87-46E1-93A6-4137E9CDD8EF}" dt="2025-04-15T09:14:30.703" v="30" actId="20577"/>
        <pc:sldMkLst>
          <pc:docMk/>
          <pc:sldMk cId="1731062681" sldId="1801"/>
        </pc:sldMkLst>
        <pc:graphicFrameChg chg="mod modGraphic">
          <ac:chgData name="西村 笙平(NISHIMURA Shohei)" userId="d08d2c33-9814-43fe-9d7b-ea3e5d006c86" providerId="ADAL" clId="{9C74C3F1-FD87-46E1-93A6-4137E9CDD8EF}" dt="2025-04-15T09:14:30.703" v="30" actId="20577"/>
          <ac:graphicFrameMkLst>
            <pc:docMk/>
            <pc:sldMk cId="1731062681" sldId="1801"/>
            <ac:graphicFrameMk id="8" creationId="{37C17ED4-31B5-BE1E-4D38-25AA300C4F1B}"/>
          </ac:graphicFrameMkLst>
        </pc:graphicFrameChg>
      </pc:sldChg>
      <pc:sldChg chg="addSp delSp modSp mod">
        <pc:chgData name="西村 笙平(NISHIMURA Shohei)" userId="d08d2c33-9814-43fe-9d7b-ea3e5d006c86" providerId="ADAL" clId="{9C74C3F1-FD87-46E1-93A6-4137E9CDD8EF}" dt="2025-04-15T09:15:41.077" v="39"/>
        <pc:sldMkLst>
          <pc:docMk/>
          <pc:sldMk cId="2174853723" sldId="1802"/>
        </pc:sldMkLst>
        <pc:spChg chg="mod">
          <ac:chgData name="西村 笙平(NISHIMURA Shohei)" userId="d08d2c33-9814-43fe-9d7b-ea3e5d006c86" providerId="ADAL" clId="{9C74C3F1-FD87-46E1-93A6-4137E9CDD8EF}" dt="2025-04-15T09:15:24.425" v="37" actId="14100"/>
          <ac:spMkLst>
            <pc:docMk/>
            <pc:sldMk cId="2174853723" sldId="1802"/>
            <ac:spMk id="7" creationId="{3FB4849D-60FC-271F-FD2C-2270B52FDA46}"/>
          </ac:spMkLst>
        </pc:spChg>
        <pc:spChg chg="mod">
          <ac:chgData name="西村 笙平(NISHIMURA Shohei)" userId="d08d2c33-9814-43fe-9d7b-ea3e5d006c86" providerId="ADAL" clId="{9C74C3F1-FD87-46E1-93A6-4137E9CDD8EF}" dt="2025-04-15T09:15:20.657" v="36" actId="14100"/>
          <ac:spMkLst>
            <pc:docMk/>
            <pc:sldMk cId="2174853723" sldId="1802"/>
            <ac:spMk id="11" creationId="{6BE75387-9B28-51BA-42FE-14811FC58A67}"/>
          </ac:spMkLst>
        </pc:spChg>
        <pc:spChg chg="add mod">
          <ac:chgData name="西村 笙平(NISHIMURA Shohei)" userId="d08d2c33-9814-43fe-9d7b-ea3e5d006c86" providerId="ADAL" clId="{9C74C3F1-FD87-46E1-93A6-4137E9CDD8EF}" dt="2025-04-15T09:15:41.077" v="39"/>
          <ac:spMkLst>
            <pc:docMk/>
            <pc:sldMk cId="2174853723" sldId="1802"/>
            <ac:spMk id="18" creationId="{9236A2A0-CE6D-D17F-57E3-863197B51618}"/>
          </ac:spMkLst>
        </pc:spChg>
        <pc:spChg chg="del">
          <ac:chgData name="西村 笙平(NISHIMURA Shohei)" userId="d08d2c33-9814-43fe-9d7b-ea3e5d006c86" providerId="ADAL" clId="{9C74C3F1-FD87-46E1-93A6-4137E9CDD8EF}" dt="2025-04-15T09:15:40.872" v="38" actId="478"/>
          <ac:spMkLst>
            <pc:docMk/>
            <pc:sldMk cId="2174853723" sldId="1802"/>
            <ac:spMk id="23" creationId="{E4C1C023-A7F7-8307-3383-F4CAF1FF2658}"/>
          </ac:spMkLst>
        </pc:spChg>
        <pc:graphicFrameChg chg="del">
          <ac:chgData name="西村 笙平(NISHIMURA Shohei)" userId="d08d2c33-9814-43fe-9d7b-ea3e5d006c86" providerId="ADAL" clId="{9C74C3F1-FD87-46E1-93A6-4137E9CDD8EF}" dt="2025-04-15T09:15:05.562" v="32" actId="478"/>
          <ac:graphicFrameMkLst>
            <pc:docMk/>
            <pc:sldMk cId="2174853723" sldId="1802"/>
            <ac:graphicFrameMk id="16" creationId="{4328BA06-C622-B011-947E-DCBE5C9ECD51}"/>
          </ac:graphicFrameMkLst>
        </pc:graphicFrameChg>
        <pc:graphicFrameChg chg="add mod ord">
          <ac:chgData name="西村 笙平(NISHIMURA Shohei)" userId="d08d2c33-9814-43fe-9d7b-ea3e5d006c86" providerId="ADAL" clId="{9C74C3F1-FD87-46E1-93A6-4137E9CDD8EF}" dt="2025-04-15T09:15:13.741" v="35" actId="167"/>
          <ac:graphicFrameMkLst>
            <pc:docMk/>
            <pc:sldMk cId="2174853723" sldId="1802"/>
            <ac:graphicFrameMk id="17" creationId="{2C6DE5AE-C239-F570-9EBA-D1B3EBDF7224}"/>
          </ac:graphicFrameMkLst>
        </pc:graphicFrameChg>
      </pc:sldChg>
      <pc:sldChg chg="modSp mod">
        <pc:chgData name="西村 笙平(NISHIMURA Shohei)" userId="d08d2c33-9814-43fe-9d7b-ea3e5d006c86" providerId="ADAL" clId="{9C74C3F1-FD87-46E1-93A6-4137E9CDD8EF}" dt="2025-04-15T09:18:37.605" v="127" actId="1076"/>
        <pc:sldMkLst>
          <pc:docMk/>
          <pc:sldMk cId="4155459258" sldId="1803"/>
        </pc:sldMkLst>
        <pc:spChg chg="mod">
          <ac:chgData name="西村 笙平(NISHIMURA Shohei)" userId="d08d2c33-9814-43fe-9d7b-ea3e5d006c86" providerId="ADAL" clId="{9C74C3F1-FD87-46E1-93A6-4137E9CDD8EF}" dt="2025-04-15T09:18:37.605" v="127" actId="1076"/>
          <ac:spMkLst>
            <pc:docMk/>
            <pc:sldMk cId="4155459258" sldId="1803"/>
            <ac:spMk id="8" creationId="{D7FDF8F7-1165-88FF-2A7D-D571C1D4BFAE}"/>
          </ac:spMkLst>
        </pc:spChg>
        <pc:spChg chg="mod">
          <ac:chgData name="西村 笙平(NISHIMURA Shohei)" userId="d08d2c33-9814-43fe-9d7b-ea3e5d006c86" providerId="ADAL" clId="{9C74C3F1-FD87-46E1-93A6-4137E9CDD8EF}" dt="2025-04-15T09:18:22.095" v="126" actId="1036"/>
          <ac:spMkLst>
            <pc:docMk/>
            <pc:sldMk cId="4155459258" sldId="1803"/>
            <ac:spMk id="12" creationId="{9C579815-7452-6922-211C-0C151841D94C}"/>
          </ac:spMkLst>
        </pc:spChg>
        <pc:picChg chg="mod">
          <ac:chgData name="西村 笙平(NISHIMURA Shohei)" userId="d08d2c33-9814-43fe-9d7b-ea3e5d006c86" providerId="ADAL" clId="{9C74C3F1-FD87-46E1-93A6-4137E9CDD8EF}" dt="2025-04-15T09:18:22.095" v="126" actId="1036"/>
          <ac:picMkLst>
            <pc:docMk/>
            <pc:sldMk cId="4155459258" sldId="1803"/>
            <ac:picMk id="10" creationId="{5DDFAABF-5844-7CF2-427C-9DEFCE9C4A31}"/>
          </ac:picMkLst>
        </pc:picChg>
      </pc:sldChg>
      <pc:sldChg chg="modSp mod">
        <pc:chgData name="西村 笙平(NISHIMURA Shohei)" userId="d08d2c33-9814-43fe-9d7b-ea3e5d006c86" providerId="ADAL" clId="{9C74C3F1-FD87-46E1-93A6-4137E9CDD8EF}" dt="2025-04-15T10:21:29.467" v="135" actId="20577"/>
        <pc:sldMkLst>
          <pc:docMk/>
          <pc:sldMk cId="3494048592" sldId="1805"/>
        </pc:sldMkLst>
        <pc:graphicFrameChg chg="modGraphic">
          <ac:chgData name="西村 笙平(NISHIMURA Shohei)" userId="d08d2c33-9814-43fe-9d7b-ea3e5d006c86" providerId="ADAL" clId="{9C74C3F1-FD87-46E1-93A6-4137E9CDD8EF}" dt="2025-04-15T10:21:29.467" v="135" actId="20577"/>
          <ac:graphicFrameMkLst>
            <pc:docMk/>
            <pc:sldMk cId="3494048592" sldId="1805"/>
            <ac:graphicFrameMk id="8" creationId="{37C17ED4-31B5-BE1E-4D38-25AA300C4F1B}"/>
          </ac:graphicFrameMkLst>
        </pc:graphicFrameChg>
      </pc:sldChg>
      <pc:sldChg chg="modSp mod">
        <pc:chgData name="西村 笙平(NISHIMURA Shohei)" userId="d08d2c33-9814-43fe-9d7b-ea3e5d006c86" providerId="ADAL" clId="{9C74C3F1-FD87-46E1-93A6-4137E9CDD8EF}" dt="2025-04-15T10:21:34.645" v="138" actId="20577"/>
        <pc:sldMkLst>
          <pc:docMk/>
          <pc:sldMk cId="1539400230" sldId="1806"/>
        </pc:sldMkLst>
        <pc:graphicFrameChg chg="modGraphic">
          <ac:chgData name="西村 笙平(NISHIMURA Shohei)" userId="d08d2c33-9814-43fe-9d7b-ea3e5d006c86" providerId="ADAL" clId="{9C74C3F1-FD87-46E1-93A6-4137E9CDD8EF}" dt="2025-04-15T10:21:34.645" v="138" actId="20577"/>
          <ac:graphicFrameMkLst>
            <pc:docMk/>
            <pc:sldMk cId="1539400230" sldId="1806"/>
            <ac:graphicFrameMk id="8" creationId="{37C17ED4-31B5-BE1E-4D38-25AA300C4F1B}"/>
          </ac:graphicFrameMkLst>
        </pc:graphicFrameChg>
      </pc:sldChg>
      <pc:sldChg chg="modSp mod">
        <pc:chgData name="西村 笙平(NISHIMURA Shohei)" userId="d08d2c33-9814-43fe-9d7b-ea3e5d006c86" providerId="ADAL" clId="{9C74C3F1-FD87-46E1-93A6-4137E9CDD8EF}" dt="2025-04-15T10:21:43.012" v="141" actId="20577"/>
        <pc:sldMkLst>
          <pc:docMk/>
          <pc:sldMk cId="2260495983" sldId="1808"/>
        </pc:sldMkLst>
        <pc:graphicFrameChg chg="modGraphic">
          <ac:chgData name="西村 笙平(NISHIMURA Shohei)" userId="d08d2c33-9814-43fe-9d7b-ea3e5d006c86" providerId="ADAL" clId="{9C74C3F1-FD87-46E1-93A6-4137E9CDD8EF}" dt="2025-04-15T10:21:43.012" v="141" actId="20577"/>
          <ac:graphicFrameMkLst>
            <pc:docMk/>
            <pc:sldMk cId="2260495983" sldId="1808"/>
            <ac:graphicFrameMk id="2" creationId="{AC417C49-8970-3FBF-DACA-7F241776FB0E}"/>
          </ac:graphicFrameMkLst>
        </pc:graphicFrameChg>
      </pc:sldChg>
      <pc:sldChg chg="del">
        <pc:chgData name="西村 笙平(NISHIMURA Shohei)" userId="d08d2c33-9814-43fe-9d7b-ea3e5d006c86" providerId="ADAL" clId="{9C74C3F1-FD87-46E1-93A6-4137E9CDD8EF}" dt="2025-04-15T09:14:54.078" v="31" actId="47"/>
        <pc:sldMkLst>
          <pc:docMk/>
          <pc:sldMk cId="239995315" sldId="1810"/>
        </pc:sldMkLst>
      </pc:sldChg>
    </pc:docChg>
  </pc:docChgLst>
  <pc:docChgLst>
    <pc:chgData name="牧野 充希(MAKINO Atsuki)" userId="e1bb11f1-fc18-4a8c-a6ff-e197300cb8d1" providerId="ADAL" clId="{35C470DA-8BB2-479D-B2BD-283560908224}"/>
    <pc:docChg chg="undo redo custSel addSld delSld modSld modSection">
      <pc:chgData name="牧野 充希(MAKINO Atsuki)" userId="e1bb11f1-fc18-4a8c-a6ff-e197300cb8d1" providerId="ADAL" clId="{35C470DA-8BB2-479D-B2BD-283560908224}" dt="2025-04-22T03:33:48.184" v="2707" actId="20577"/>
      <pc:docMkLst>
        <pc:docMk/>
      </pc:docMkLst>
      <pc:sldChg chg="addSp delSp modSp mod">
        <pc:chgData name="牧野 充希(MAKINO Atsuki)" userId="e1bb11f1-fc18-4a8c-a6ff-e197300cb8d1" providerId="ADAL" clId="{35C470DA-8BB2-479D-B2BD-283560908224}" dt="2025-04-22T03:32:11.463" v="2677"/>
        <pc:sldMkLst>
          <pc:docMk/>
          <pc:sldMk cId="1927059807" sldId="1764"/>
        </pc:sldMkLst>
        <pc:spChg chg="mod">
          <ac:chgData name="牧野 充希(MAKINO Atsuki)" userId="e1bb11f1-fc18-4a8c-a6ff-e197300cb8d1" providerId="ADAL" clId="{35C470DA-8BB2-479D-B2BD-283560908224}" dt="2025-04-22T03:23:34.422" v="2635"/>
          <ac:spMkLst>
            <pc:docMk/>
            <pc:sldMk cId="1927059807" sldId="1764"/>
            <ac:spMk id="5" creationId="{BE7313C8-2F30-4CC0-A171-28A0CD336245}"/>
          </ac:spMkLst>
        </pc:spChg>
        <pc:spChg chg="add mod">
          <ac:chgData name="牧野 充希(MAKINO Atsuki)" userId="e1bb11f1-fc18-4a8c-a6ff-e197300cb8d1" providerId="ADAL" clId="{35C470DA-8BB2-479D-B2BD-283560908224}" dt="2025-04-22T03:32:11.463" v="2677"/>
          <ac:spMkLst>
            <pc:docMk/>
            <pc:sldMk cId="1927059807" sldId="1764"/>
            <ac:spMk id="8" creationId="{0A726A9F-62DB-1559-DBA9-911AD8E9F380}"/>
          </ac:spMkLst>
        </pc:spChg>
        <pc:spChg chg="del">
          <ac:chgData name="牧野 充希(MAKINO Atsuki)" userId="e1bb11f1-fc18-4a8c-a6ff-e197300cb8d1" providerId="ADAL" clId="{35C470DA-8BB2-479D-B2BD-283560908224}" dt="2025-04-21T05:33:31.728" v="1841" actId="478"/>
          <ac:spMkLst>
            <pc:docMk/>
            <pc:sldMk cId="1927059807" sldId="1764"/>
            <ac:spMk id="8" creationId="{A76E9A10-E5F7-2133-0C6B-CD464D80CBA2}"/>
          </ac:spMkLst>
        </pc:spChg>
        <pc:spChg chg="add mod">
          <ac:chgData name="牧野 充希(MAKINO Atsuki)" userId="e1bb11f1-fc18-4a8c-a6ff-e197300cb8d1" providerId="ADAL" clId="{35C470DA-8BB2-479D-B2BD-283560908224}" dt="2025-04-21T05:33:31.995" v="1842"/>
          <ac:spMkLst>
            <pc:docMk/>
            <pc:sldMk cId="1927059807" sldId="1764"/>
            <ac:spMk id="9" creationId="{0455CBB7-689F-7050-CCE4-2E47186925B0}"/>
          </ac:spMkLst>
        </pc:spChg>
        <pc:spChg chg="del">
          <ac:chgData name="牧野 充希(MAKINO Atsuki)" userId="e1bb11f1-fc18-4a8c-a6ff-e197300cb8d1" providerId="ADAL" clId="{35C470DA-8BB2-479D-B2BD-283560908224}" dt="2025-04-22T03:22:03.533" v="2628" actId="478"/>
          <ac:spMkLst>
            <pc:docMk/>
            <pc:sldMk cId="1927059807" sldId="1764"/>
            <ac:spMk id="18" creationId="{045734C6-2283-9884-2A64-78EFE34E5FB9}"/>
          </ac:spMkLst>
        </pc:spChg>
        <pc:spChg chg="del">
          <ac:chgData name="牧野 充希(MAKINO Atsuki)" userId="e1bb11f1-fc18-4a8c-a6ff-e197300cb8d1" providerId="ADAL" clId="{35C470DA-8BB2-479D-B2BD-283560908224}" dt="2025-04-22T03:21:59.486" v="2625" actId="478"/>
          <ac:spMkLst>
            <pc:docMk/>
            <pc:sldMk cId="1927059807" sldId="1764"/>
            <ac:spMk id="19" creationId="{F2A5B345-2BF3-1306-C701-19C71A83B96A}"/>
          </ac:spMkLst>
        </pc:spChg>
        <pc:spChg chg="del">
          <ac:chgData name="牧野 充希(MAKINO Atsuki)" userId="e1bb11f1-fc18-4a8c-a6ff-e197300cb8d1" providerId="ADAL" clId="{35C470DA-8BB2-479D-B2BD-283560908224}" dt="2025-04-22T03:21:57.885" v="2624" actId="478"/>
          <ac:spMkLst>
            <pc:docMk/>
            <pc:sldMk cId="1927059807" sldId="1764"/>
            <ac:spMk id="20" creationId="{AECE5947-1C78-2429-919A-413FBEEA6117}"/>
          </ac:spMkLst>
        </pc:spChg>
        <pc:spChg chg="del">
          <ac:chgData name="牧野 充希(MAKINO Atsuki)" userId="e1bb11f1-fc18-4a8c-a6ff-e197300cb8d1" providerId="ADAL" clId="{35C470DA-8BB2-479D-B2BD-283560908224}" dt="2025-04-22T03:21:56.504" v="2623" actId="478"/>
          <ac:spMkLst>
            <pc:docMk/>
            <pc:sldMk cId="1927059807" sldId="1764"/>
            <ac:spMk id="21" creationId="{433C4577-EA22-DB12-2E98-B02340DD7E76}"/>
          </ac:spMkLst>
        </pc:spChg>
        <pc:spChg chg="del">
          <ac:chgData name="牧野 充希(MAKINO Atsuki)" userId="e1bb11f1-fc18-4a8c-a6ff-e197300cb8d1" providerId="ADAL" clId="{35C470DA-8BB2-479D-B2BD-283560908224}" dt="2025-04-22T03:22:07.285" v="2629" actId="478"/>
          <ac:spMkLst>
            <pc:docMk/>
            <pc:sldMk cId="1927059807" sldId="1764"/>
            <ac:spMk id="22" creationId="{C56F6036-4194-C0F0-1124-3DBD87517BE3}"/>
          </ac:spMkLst>
        </pc:spChg>
        <pc:spChg chg="del">
          <ac:chgData name="牧野 充希(MAKINO Atsuki)" userId="e1bb11f1-fc18-4a8c-a6ff-e197300cb8d1" providerId="ADAL" clId="{35C470DA-8BB2-479D-B2BD-283560908224}" dt="2025-04-22T03:22:02.142" v="2627" actId="478"/>
          <ac:spMkLst>
            <pc:docMk/>
            <pc:sldMk cId="1927059807" sldId="1764"/>
            <ac:spMk id="24" creationId="{B1EF62F9-0177-A64D-9A4E-DA41BDFB47CF}"/>
          </ac:spMkLst>
        </pc:spChg>
        <pc:spChg chg="del mod">
          <ac:chgData name="牧野 充希(MAKINO Atsuki)" userId="e1bb11f1-fc18-4a8c-a6ff-e197300cb8d1" providerId="ADAL" clId="{35C470DA-8BB2-479D-B2BD-283560908224}" dt="2025-04-22T03:32:11.227" v="2676" actId="478"/>
          <ac:spMkLst>
            <pc:docMk/>
            <pc:sldMk cId="1927059807" sldId="1764"/>
            <ac:spMk id="25" creationId="{DB86792E-95F0-D2F1-E0C2-4C19F620CE9F}"/>
          </ac:spMkLst>
        </pc:spChg>
        <pc:graphicFrameChg chg="mod modGraphic">
          <ac:chgData name="牧野 充希(MAKINO Atsuki)" userId="e1bb11f1-fc18-4a8c-a6ff-e197300cb8d1" providerId="ADAL" clId="{35C470DA-8BB2-479D-B2BD-283560908224}" dt="2025-04-22T03:22:55.218" v="2632" actId="20577"/>
          <ac:graphicFrameMkLst>
            <pc:docMk/>
            <pc:sldMk cId="1927059807" sldId="1764"/>
            <ac:graphicFrameMk id="2" creationId="{AC417C49-8970-3FBF-DACA-7F241776FB0E}"/>
          </ac:graphicFrameMkLst>
        </pc:graphicFrameChg>
        <pc:picChg chg="del">
          <ac:chgData name="牧野 充希(MAKINO Atsuki)" userId="e1bb11f1-fc18-4a8c-a6ff-e197300cb8d1" providerId="ADAL" clId="{35C470DA-8BB2-479D-B2BD-283560908224}" dt="2025-04-22T03:22:00.883" v="2626" actId="478"/>
          <ac:picMkLst>
            <pc:docMk/>
            <pc:sldMk cId="1927059807" sldId="1764"/>
            <ac:picMk id="23" creationId="{CF654636-9E94-03B7-4FA2-9A3708A0B7D1}"/>
          </ac:picMkLst>
        </pc:picChg>
      </pc:sldChg>
      <pc:sldChg chg="delSp modSp mod">
        <pc:chgData name="牧野 充希(MAKINO Atsuki)" userId="e1bb11f1-fc18-4a8c-a6ff-e197300cb8d1" providerId="ADAL" clId="{35C470DA-8BB2-479D-B2BD-283560908224}" dt="2025-04-21T05:32:20.489" v="1790" actId="20577"/>
        <pc:sldMkLst>
          <pc:docMk/>
          <pc:sldMk cId="786981567" sldId="1800"/>
        </pc:sldMkLst>
        <pc:spChg chg="del">
          <ac:chgData name="牧野 充希(MAKINO Atsuki)" userId="e1bb11f1-fc18-4a8c-a6ff-e197300cb8d1" providerId="ADAL" clId="{35C470DA-8BB2-479D-B2BD-283560908224}" dt="2025-04-18T12:51:58.280" v="857" actId="478"/>
          <ac:spMkLst>
            <pc:docMk/>
            <pc:sldMk cId="786981567" sldId="1800"/>
            <ac:spMk id="3" creationId="{13CF5F74-B0CC-0804-84B5-AA312627120F}"/>
          </ac:spMkLst>
        </pc:spChg>
        <pc:spChg chg="mod">
          <ac:chgData name="牧野 充希(MAKINO Atsuki)" userId="e1bb11f1-fc18-4a8c-a6ff-e197300cb8d1" providerId="ADAL" clId="{35C470DA-8BB2-479D-B2BD-283560908224}" dt="2025-04-21T05:32:20.489" v="1790" actId="20577"/>
          <ac:spMkLst>
            <pc:docMk/>
            <pc:sldMk cId="786981567" sldId="1800"/>
            <ac:spMk id="5" creationId="{81D1DB79-8583-A99E-540E-8CB4E3888F88}"/>
          </ac:spMkLst>
        </pc:spChg>
      </pc:sldChg>
      <pc:sldChg chg="modSp mod">
        <pc:chgData name="牧野 充希(MAKINO Atsuki)" userId="e1bb11f1-fc18-4a8c-a6ff-e197300cb8d1" providerId="ADAL" clId="{35C470DA-8BB2-479D-B2BD-283560908224}" dt="2025-04-22T03:31:13.524" v="2667" actId="20577"/>
        <pc:sldMkLst>
          <pc:docMk/>
          <pc:sldMk cId="1731062681" sldId="1801"/>
        </pc:sldMkLst>
        <pc:graphicFrameChg chg="mod modGraphic">
          <ac:chgData name="牧野 充希(MAKINO Atsuki)" userId="e1bb11f1-fc18-4a8c-a6ff-e197300cb8d1" providerId="ADAL" clId="{35C470DA-8BB2-479D-B2BD-283560908224}" dt="2025-04-22T03:31:13.524" v="2667" actId="20577"/>
          <ac:graphicFrameMkLst>
            <pc:docMk/>
            <pc:sldMk cId="1731062681" sldId="1801"/>
            <ac:graphicFrameMk id="8" creationId="{37C17ED4-31B5-BE1E-4D38-25AA300C4F1B}"/>
          </ac:graphicFrameMkLst>
        </pc:graphicFrameChg>
      </pc:sldChg>
      <pc:sldChg chg="addSp modSp del mod">
        <pc:chgData name="牧野 充希(MAKINO Atsuki)" userId="e1bb11f1-fc18-4a8c-a6ff-e197300cb8d1" providerId="ADAL" clId="{35C470DA-8BB2-479D-B2BD-283560908224}" dt="2025-04-21T05:38:33.897" v="1919" actId="2696"/>
        <pc:sldMkLst>
          <pc:docMk/>
          <pc:sldMk cId="2174853723" sldId="1802"/>
        </pc:sldMkLst>
        <pc:spChg chg="mod">
          <ac:chgData name="牧野 充希(MAKINO Atsuki)" userId="e1bb11f1-fc18-4a8c-a6ff-e197300cb8d1" providerId="ADAL" clId="{35C470DA-8BB2-479D-B2BD-283560908224}" dt="2025-04-21T05:37:16.850" v="1904" actId="1076"/>
          <ac:spMkLst>
            <pc:docMk/>
            <pc:sldMk cId="2174853723" sldId="1802"/>
            <ac:spMk id="3" creationId="{C8A3523E-49B5-64AD-925C-2E71989F6FC8}"/>
          </ac:spMkLst>
        </pc:spChg>
        <pc:spChg chg="add mod">
          <ac:chgData name="牧野 充希(MAKINO Atsuki)" userId="e1bb11f1-fc18-4a8c-a6ff-e197300cb8d1" providerId="ADAL" clId="{35C470DA-8BB2-479D-B2BD-283560908224}" dt="2025-04-21T05:38:02.453" v="1913"/>
          <ac:spMkLst>
            <pc:docMk/>
            <pc:sldMk cId="2174853723" sldId="1802"/>
            <ac:spMk id="16" creationId="{5860E7EC-17E9-D736-B20E-9D5BBB7D8EBE}"/>
          </ac:spMkLst>
        </pc:spChg>
      </pc:sldChg>
      <pc:sldChg chg="modSp mod">
        <pc:chgData name="牧野 充希(MAKINO Atsuki)" userId="e1bb11f1-fc18-4a8c-a6ff-e197300cb8d1" providerId="ADAL" clId="{35C470DA-8BB2-479D-B2BD-283560908224}" dt="2025-04-22T02:35:22.686" v="2538" actId="1036"/>
        <pc:sldMkLst>
          <pc:docMk/>
          <pc:sldMk cId="4155459258" sldId="1803"/>
        </pc:sldMkLst>
        <pc:spChg chg="mod">
          <ac:chgData name="牧野 充希(MAKINO Atsuki)" userId="e1bb11f1-fc18-4a8c-a6ff-e197300cb8d1" providerId="ADAL" clId="{35C470DA-8BB2-479D-B2BD-283560908224}" dt="2025-04-22T02:35:18.663" v="2532" actId="1036"/>
          <ac:spMkLst>
            <pc:docMk/>
            <pc:sldMk cId="4155459258" sldId="1803"/>
            <ac:spMk id="8" creationId="{D7FDF8F7-1165-88FF-2A7D-D571C1D4BFAE}"/>
          </ac:spMkLst>
        </pc:spChg>
        <pc:spChg chg="mod">
          <ac:chgData name="牧野 充希(MAKINO Atsuki)" userId="e1bb11f1-fc18-4a8c-a6ff-e197300cb8d1" providerId="ADAL" clId="{35C470DA-8BB2-479D-B2BD-283560908224}" dt="2025-04-22T02:35:22.686" v="2538" actId="1036"/>
          <ac:spMkLst>
            <pc:docMk/>
            <pc:sldMk cId="4155459258" sldId="1803"/>
            <ac:spMk id="12" creationId="{9C579815-7452-6922-211C-0C151841D94C}"/>
          </ac:spMkLst>
        </pc:spChg>
        <pc:picChg chg="mod">
          <ac:chgData name="牧野 充希(MAKINO Atsuki)" userId="e1bb11f1-fc18-4a8c-a6ff-e197300cb8d1" providerId="ADAL" clId="{35C470DA-8BB2-479D-B2BD-283560908224}" dt="2025-04-22T02:35:18.663" v="2532" actId="1036"/>
          <ac:picMkLst>
            <pc:docMk/>
            <pc:sldMk cId="4155459258" sldId="1803"/>
            <ac:picMk id="10" creationId="{5DDFAABF-5844-7CF2-427C-9DEFCE9C4A31}"/>
          </ac:picMkLst>
        </pc:picChg>
      </pc:sldChg>
      <pc:sldChg chg="modSp mod">
        <pc:chgData name="牧野 充希(MAKINO Atsuki)" userId="e1bb11f1-fc18-4a8c-a6ff-e197300cb8d1" providerId="ADAL" clId="{35C470DA-8BB2-479D-B2BD-283560908224}" dt="2025-04-22T03:30:20.838" v="2663" actId="20577"/>
        <pc:sldMkLst>
          <pc:docMk/>
          <pc:sldMk cId="3494048592" sldId="1805"/>
        </pc:sldMkLst>
        <pc:spChg chg="mod">
          <ac:chgData name="牧野 充希(MAKINO Atsuki)" userId="e1bb11f1-fc18-4a8c-a6ff-e197300cb8d1" providerId="ADAL" clId="{35C470DA-8BB2-479D-B2BD-283560908224}" dt="2025-04-21T05:33:03.432" v="1824" actId="1038"/>
          <ac:spMkLst>
            <pc:docMk/>
            <pc:sldMk cId="3494048592" sldId="1805"/>
            <ac:spMk id="10" creationId="{35543A15-5B1D-8CB3-2CC6-E1EA7F2D4B43}"/>
          </ac:spMkLst>
        </pc:spChg>
        <pc:graphicFrameChg chg="mod modGraphic">
          <ac:chgData name="牧野 充希(MAKINO Atsuki)" userId="e1bb11f1-fc18-4a8c-a6ff-e197300cb8d1" providerId="ADAL" clId="{35C470DA-8BB2-479D-B2BD-283560908224}" dt="2025-04-22T03:30:20.838" v="2663" actId="20577"/>
          <ac:graphicFrameMkLst>
            <pc:docMk/>
            <pc:sldMk cId="3494048592" sldId="1805"/>
            <ac:graphicFrameMk id="8" creationId="{37C17ED4-31B5-BE1E-4D38-25AA300C4F1B}"/>
          </ac:graphicFrameMkLst>
        </pc:graphicFrameChg>
      </pc:sldChg>
      <pc:sldChg chg="addSp delSp modSp mod">
        <pc:chgData name="牧野 充希(MAKINO Atsuki)" userId="e1bb11f1-fc18-4a8c-a6ff-e197300cb8d1" providerId="ADAL" clId="{35C470DA-8BB2-479D-B2BD-283560908224}" dt="2025-04-22T03:33:48.184" v="2707" actId="20577"/>
        <pc:sldMkLst>
          <pc:docMk/>
          <pc:sldMk cId="1539400230" sldId="1806"/>
        </pc:sldMkLst>
        <pc:spChg chg="mod">
          <ac:chgData name="牧野 充希(MAKINO Atsuki)" userId="e1bb11f1-fc18-4a8c-a6ff-e197300cb8d1" providerId="ADAL" clId="{35C470DA-8BB2-479D-B2BD-283560908224}" dt="2025-04-22T03:32:04.807" v="2675" actId="1076"/>
          <ac:spMkLst>
            <pc:docMk/>
            <pc:sldMk cId="1539400230" sldId="1806"/>
            <ac:spMk id="2" creationId="{7848149B-D4FA-B760-5D11-F1A5E4E7DF97}"/>
          </ac:spMkLst>
        </pc:spChg>
        <pc:spChg chg="del">
          <ac:chgData name="牧野 充希(MAKINO Atsuki)" userId="e1bb11f1-fc18-4a8c-a6ff-e197300cb8d1" providerId="ADAL" clId="{35C470DA-8BB2-479D-B2BD-283560908224}" dt="2025-04-21T05:33:09.527" v="1825" actId="478"/>
          <ac:spMkLst>
            <pc:docMk/>
            <pc:sldMk cId="1539400230" sldId="1806"/>
            <ac:spMk id="10" creationId="{35543A15-5B1D-8CB3-2CC6-E1EA7F2D4B43}"/>
          </ac:spMkLst>
        </pc:spChg>
        <pc:spChg chg="mod">
          <ac:chgData name="牧野 充希(MAKINO Atsuki)" userId="e1bb11f1-fc18-4a8c-a6ff-e197300cb8d1" providerId="ADAL" clId="{35C470DA-8BB2-479D-B2BD-283560908224}" dt="2025-04-22T03:33:42.449" v="2702" actId="20577"/>
          <ac:spMkLst>
            <pc:docMk/>
            <pc:sldMk cId="1539400230" sldId="1806"/>
            <ac:spMk id="12" creationId="{54A400CD-FBE6-BD20-3941-04BB166A55AB}"/>
          </ac:spMkLst>
        </pc:spChg>
        <pc:spChg chg="mod">
          <ac:chgData name="牧野 充希(MAKINO Atsuki)" userId="e1bb11f1-fc18-4a8c-a6ff-e197300cb8d1" providerId="ADAL" clId="{35C470DA-8BB2-479D-B2BD-283560908224}" dt="2025-04-22T03:33:43.595" v="2703" actId="20577"/>
          <ac:spMkLst>
            <pc:docMk/>
            <pc:sldMk cId="1539400230" sldId="1806"/>
            <ac:spMk id="13" creationId="{E337FF87-CDFB-2557-A7CD-69F4779D6DF2}"/>
          </ac:spMkLst>
        </pc:spChg>
        <pc:spChg chg="add del mod">
          <ac:chgData name="牧野 充希(MAKINO Atsuki)" userId="e1bb11f1-fc18-4a8c-a6ff-e197300cb8d1" providerId="ADAL" clId="{35C470DA-8BB2-479D-B2BD-283560908224}" dt="2025-04-22T03:33:47.196" v="2706" actId="20577"/>
          <ac:spMkLst>
            <pc:docMk/>
            <pc:sldMk cId="1539400230" sldId="1806"/>
            <ac:spMk id="14" creationId="{335D6C43-1401-4A58-26FF-C604454F13FF}"/>
          </ac:spMkLst>
        </pc:spChg>
        <pc:spChg chg="add mod">
          <ac:chgData name="牧野 充希(MAKINO Atsuki)" userId="e1bb11f1-fc18-4a8c-a6ff-e197300cb8d1" providerId="ADAL" clId="{35C470DA-8BB2-479D-B2BD-283560908224}" dt="2025-04-21T05:33:09.779" v="1826"/>
          <ac:spMkLst>
            <pc:docMk/>
            <pc:sldMk cId="1539400230" sldId="1806"/>
            <ac:spMk id="15" creationId="{C5F075E2-7332-766F-8FA3-BD6D4A460ED7}"/>
          </ac:spMkLst>
        </pc:spChg>
        <pc:spChg chg="mod">
          <ac:chgData name="牧野 充希(MAKINO Atsuki)" userId="e1bb11f1-fc18-4a8c-a6ff-e197300cb8d1" providerId="ADAL" clId="{35C470DA-8BB2-479D-B2BD-283560908224}" dt="2025-04-22T03:33:48.184" v="2707" actId="20577"/>
          <ac:spMkLst>
            <pc:docMk/>
            <pc:sldMk cId="1539400230" sldId="1806"/>
            <ac:spMk id="16" creationId="{5CCDF56A-7F17-7705-D560-EFADB4C3FC8E}"/>
          </ac:spMkLst>
        </pc:spChg>
        <pc:spChg chg="add del">
          <ac:chgData name="牧野 充希(MAKINO Atsuki)" userId="e1bb11f1-fc18-4a8c-a6ff-e197300cb8d1" providerId="ADAL" clId="{35C470DA-8BB2-479D-B2BD-283560908224}" dt="2025-04-22T03:17:12.250" v="2558" actId="478"/>
          <ac:spMkLst>
            <pc:docMk/>
            <pc:sldMk cId="1539400230" sldId="1806"/>
            <ac:spMk id="21" creationId="{1CE48F07-2263-E2AB-D2E2-821FF0157F73}"/>
          </ac:spMkLst>
        </pc:spChg>
        <pc:spChg chg="add del">
          <ac:chgData name="牧野 充希(MAKINO Atsuki)" userId="e1bb11f1-fc18-4a8c-a6ff-e197300cb8d1" providerId="ADAL" clId="{35C470DA-8BB2-479D-B2BD-283560908224}" dt="2025-04-22T03:17:13.442" v="2559" actId="478"/>
          <ac:spMkLst>
            <pc:docMk/>
            <pc:sldMk cId="1539400230" sldId="1806"/>
            <ac:spMk id="25" creationId="{6E42A63F-2890-CD55-BF86-10D64ABE91F0}"/>
          </ac:spMkLst>
        </pc:spChg>
        <pc:spChg chg="add del">
          <ac:chgData name="牧野 充希(MAKINO Atsuki)" userId="e1bb11f1-fc18-4a8c-a6ff-e197300cb8d1" providerId="ADAL" clId="{35C470DA-8BB2-479D-B2BD-283560908224}" dt="2025-04-22T03:17:14.070" v="2560" actId="478"/>
          <ac:spMkLst>
            <pc:docMk/>
            <pc:sldMk cId="1539400230" sldId="1806"/>
            <ac:spMk id="26" creationId="{358BB655-A14C-7663-3C69-9F73E05F490B}"/>
          </ac:spMkLst>
        </pc:spChg>
        <pc:spChg chg="del">
          <ac:chgData name="牧野 充希(MAKINO Atsuki)" userId="e1bb11f1-fc18-4a8c-a6ff-e197300cb8d1" providerId="ADAL" clId="{35C470DA-8BB2-479D-B2BD-283560908224}" dt="2025-04-22T03:17:15.420" v="2561" actId="478"/>
          <ac:spMkLst>
            <pc:docMk/>
            <pc:sldMk cId="1539400230" sldId="1806"/>
            <ac:spMk id="28" creationId="{D0A09A31-B145-CE29-6B63-3AE0379CE7ED}"/>
          </ac:spMkLst>
        </pc:spChg>
        <pc:spChg chg="del">
          <ac:chgData name="牧野 充希(MAKINO Atsuki)" userId="e1bb11f1-fc18-4a8c-a6ff-e197300cb8d1" providerId="ADAL" clId="{35C470DA-8BB2-479D-B2BD-283560908224}" dt="2025-04-22T03:17:21.058" v="2563" actId="478"/>
          <ac:spMkLst>
            <pc:docMk/>
            <pc:sldMk cId="1539400230" sldId="1806"/>
            <ac:spMk id="29" creationId="{CA3E06D2-4A37-348E-9738-03B25F84A234}"/>
          </ac:spMkLst>
        </pc:spChg>
        <pc:graphicFrameChg chg="mod modGraphic">
          <ac:chgData name="牧野 充希(MAKINO Atsuki)" userId="e1bb11f1-fc18-4a8c-a6ff-e197300cb8d1" providerId="ADAL" clId="{35C470DA-8BB2-479D-B2BD-283560908224}" dt="2025-04-22T03:26:36.705" v="2637" actId="20577"/>
          <ac:graphicFrameMkLst>
            <pc:docMk/>
            <pc:sldMk cId="1539400230" sldId="1806"/>
            <ac:graphicFrameMk id="8" creationId="{37C17ED4-31B5-BE1E-4D38-25AA300C4F1B}"/>
          </ac:graphicFrameMkLst>
        </pc:graphicFrameChg>
        <pc:graphicFrameChg chg="add del">
          <ac:chgData name="牧野 充希(MAKINO Atsuki)" userId="e1bb11f1-fc18-4a8c-a6ff-e197300cb8d1" providerId="ADAL" clId="{35C470DA-8BB2-479D-B2BD-283560908224}" dt="2025-04-22T03:17:16.267" v="2562" actId="478"/>
          <ac:graphicFrameMkLst>
            <pc:docMk/>
            <pc:sldMk cId="1539400230" sldId="1806"/>
            <ac:graphicFrameMk id="27" creationId="{5854502F-3CF4-C0E0-573D-8CEB2F7A9B1F}"/>
          </ac:graphicFrameMkLst>
        </pc:graphicFrameChg>
      </pc:sldChg>
      <pc:sldChg chg="addSp delSp modSp mod">
        <pc:chgData name="牧野 充希(MAKINO Atsuki)" userId="e1bb11f1-fc18-4a8c-a6ff-e197300cb8d1" providerId="ADAL" clId="{35C470DA-8BB2-479D-B2BD-283560908224}" dt="2025-04-22T03:21:22.878" v="2622" actId="20577"/>
        <pc:sldMkLst>
          <pc:docMk/>
          <pc:sldMk cId="3361803510" sldId="1807"/>
        </pc:sldMkLst>
        <pc:spChg chg="del">
          <ac:chgData name="牧野 充希(MAKINO Atsuki)" userId="e1bb11f1-fc18-4a8c-a6ff-e197300cb8d1" providerId="ADAL" clId="{35C470DA-8BB2-479D-B2BD-283560908224}" dt="2025-04-21T05:33:14.943" v="1827" actId="478"/>
          <ac:spMkLst>
            <pc:docMk/>
            <pc:sldMk cId="3361803510" sldId="1807"/>
            <ac:spMk id="3" creationId="{992659FA-9BCC-7BE8-66D6-564C9B321D15}"/>
          </ac:spMkLst>
        </pc:spChg>
        <pc:spChg chg="add mod">
          <ac:chgData name="牧野 充希(MAKINO Atsuki)" userId="e1bb11f1-fc18-4a8c-a6ff-e197300cb8d1" providerId="ADAL" clId="{35C470DA-8BB2-479D-B2BD-283560908224}" dt="2025-04-21T05:33:15.194" v="1828"/>
          <ac:spMkLst>
            <pc:docMk/>
            <pc:sldMk cId="3361803510" sldId="1807"/>
            <ac:spMk id="4" creationId="{46D89142-794A-1C69-7B9D-A6954B332BED}"/>
          </ac:spMkLst>
        </pc:spChg>
        <pc:spChg chg="mod">
          <ac:chgData name="牧野 充希(MAKINO Atsuki)" userId="e1bb11f1-fc18-4a8c-a6ff-e197300cb8d1" providerId="ADAL" clId="{35C470DA-8BB2-479D-B2BD-283560908224}" dt="2025-04-22T03:21:22.878" v="2622" actId="20577"/>
          <ac:spMkLst>
            <pc:docMk/>
            <pc:sldMk cId="3361803510" sldId="1807"/>
            <ac:spMk id="8" creationId="{D7FDF8F7-1165-88FF-2A7D-D571C1D4BFAE}"/>
          </ac:spMkLst>
        </pc:spChg>
      </pc:sldChg>
      <pc:sldChg chg="addSp delSp modSp mod">
        <pc:chgData name="牧野 充希(MAKINO Atsuki)" userId="e1bb11f1-fc18-4a8c-a6ff-e197300cb8d1" providerId="ADAL" clId="{35C470DA-8BB2-479D-B2BD-283560908224}" dt="2025-04-22T03:23:31.412" v="2634" actId="1076"/>
        <pc:sldMkLst>
          <pc:docMk/>
          <pc:sldMk cId="2260495983" sldId="1808"/>
        </pc:sldMkLst>
        <pc:spChg chg="mod">
          <ac:chgData name="牧野 充希(MAKINO Atsuki)" userId="e1bb11f1-fc18-4a8c-a6ff-e197300cb8d1" providerId="ADAL" clId="{35C470DA-8BB2-479D-B2BD-283560908224}" dt="2025-04-22T03:23:31.412" v="2634" actId="1076"/>
          <ac:spMkLst>
            <pc:docMk/>
            <pc:sldMk cId="2260495983" sldId="1808"/>
            <ac:spMk id="4" creationId="{14406E2A-5AD1-7701-3F05-846C7E4F2E70}"/>
          </ac:spMkLst>
        </pc:spChg>
        <pc:spChg chg="mod">
          <ac:chgData name="牧野 充希(MAKINO Atsuki)" userId="e1bb11f1-fc18-4a8c-a6ff-e197300cb8d1" providerId="ADAL" clId="{35C470DA-8BB2-479D-B2BD-283560908224}" dt="2025-04-22T03:23:28.048" v="2633"/>
          <ac:spMkLst>
            <pc:docMk/>
            <pc:sldMk cId="2260495983" sldId="1808"/>
            <ac:spMk id="5" creationId="{BE7313C8-2F30-4CC0-A171-28A0CD336245}"/>
          </ac:spMkLst>
        </pc:spChg>
        <pc:spChg chg="del">
          <ac:chgData name="牧野 充希(MAKINO Atsuki)" userId="e1bb11f1-fc18-4a8c-a6ff-e197300cb8d1" providerId="ADAL" clId="{35C470DA-8BB2-479D-B2BD-283560908224}" dt="2025-04-21T05:33:22.996" v="1829" actId="478"/>
          <ac:spMkLst>
            <pc:docMk/>
            <pc:sldMk cId="2260495983" sldId="1808"/>
            <ac:spMk id="8" creationId="{A76E9A10-E5F7-2133-0C6B-CD464D80CBA2}"/>
          </ac:spMkLst>
        </pc:spChg>
        <pc:spChg chg="add mod">
          <ac:chgData name="牧野 充希(MAKINO Atsuki)" userId="e1bb11f1-fc18-4a8c-a6ff-e197300cb8d1" providerId="ADAL" clId="{35C470DA-8BB2-479D-B2BD-283560908224}" dt="2025-04-21T05:33:26.403" v="1840" actId="20577"/>
          <ac:spMkLst>
            <pc:docMk/>
            <pc:sldMk cId="2260495983" sldId="1808"/>
            <ac:spMk id="9" creationId="{D4562A9B-C477-BA42-D1FF-B61BF4C1BE52}"/>
          </ac:spMkLst>
        </pc:spChg>
        <pc:graphicFrameChg chg="mod modGraphic">
          <ac:chgData name="牧野 充希(MAKINO Atsuki)" userId="e1bb11f1-fc18-4a8c-a6ff-e197300cb8d1" providerId="ADAL" clId="{35C470DA-8BB2-479D-B2BD-283560908224}" dt="2025-04-22T03:20:52.804" v="2610"/>
          <ac:graphicFrameMkLst>
            <pc:docMk/>
            <pc:sldMk cId="2260495983" sldId="1808"/>
            <ac:graphicFrameMk id="2" creationId="{AC417C49-8970-3FBF-DACA-7F241776FB0E}"/>
          </ac:graphicFrameMkLst>
        </pc:graphicFrameChg>
      </pc:sldChg>
      <pc:sldChg chg="addSp delSp modSp mod">
        <pc:chgData name="牧野 充希(MAKINO Atsuki)" userId="e1bb11f1-fc18-4a8c-a6ff-e197300cb8d1" providerId="ADAL" clId="{35C470DA-8BB2-479D-B2BD-283560908224}" dt="2025-04-22T03:21:05.069" v="2614"/>
        <pc:sldMkLst>
          <pc:docMk/>
          <pc:sldMk cId="2538732313" sldId="1809"/>
        </pc:sldMkLst>
        <pc:spChg chg="add mod">
          <ac:chgData name="牧野 充希(MAKINO Atsuki)" userId="e1bb11f1-fc18-4a8c-a6ff-e197300cb8d1" providerId="ADAL" clId="{35C470DA-8BB2-479D-B2BD-283560908224}" dt="2025-04-21T05:33:36.326" v="1844"/>
          <ac:spMkLst>
            <pc:docMk/>
            <pc:sldMk cId="2538732313" sldId="1809"/>
            <ac:spMk id="3" creationId="{AD7D05FE-EB06-CABF-3A71-2F35A962C383}"/>
          </ac:spMkLst>
        </pc:spChg>
        <pc:spChg chg="mod">
          <ac:chgData name="牧野 充希(MAKINO Atsuki)" userId="e1bb11f1-fc18-4a8c-a6ff-e197300cb8d1" providerId="ADAL" clId="{35C470DA-8BB2-479D-B2BD-283560908224}" dt="2025-04-22T03:21:05.069" v="2614"/>
          <ac:spMkLst>
            <pc:docMk/>
            <pc:sldMk cId="2538732313" sldId="1809"/>
            <ac:spMk id="8" creationId="{D7FDF8F7-1165-88FF-2A7D-D571C1D4BFAE}"/>
          </ac:spMkLst>
        </pc:spChg>
        <pc:spChg chg="del">
          <ac:chgData name="牧野 充希(MAKINO Atsuki)" userId="e1bb11f1-fc18-4a8c-a6ff-e197300cb8d1" providerId="ADAL" clId="{35C470DA-8BB2-479D-B2BD-283560908224}" dt="2025-04-21T05:33:36.102" v="1843" actId="478"/>
          <ac:spMkLst>
            <pc:docMk/>
            <pc:sldMk cId="2538732313" sldId="1809"/>
            <ac:spMk id="12" creationId="{F4B5D129-9A3E-7018-EF66-BABC8407D440}"/>
          </ac:spMkLst>
        </pc:spChg>
      </pc:sldChg>
      <pc:sldChg chg="addSp modSp add del mod">
        <pc:chgData name="牧野 充希(MAKINO Atsuki)" userId="e1bb11f1-fc18-4a8c-a6ff-e197300cb8d1" providerId="ADAL" clId="{35C470DA-8BB2-479D-B2BD-283560908224}" dt="2025-04-21T05:39:02.001" v="1920" actId="2696"/>
        <pc:sldMkLst>
          <pc:docMk/>
          <pc:sldMk cId="896103148" sldId="1810"/>
        </pc:sldMkLst>
        <pc:spChg chg="add mod">
          <ac:chgData name="牧野 充希(MAKINO Atsuki)" userId="e1bb11f1-fc18-4a8c-a6ff-e197300cb8d1" providerId="ADAL" clId="{35C470DA-8BB2-479D-B2BD-283560908224}" dt="2025-04-21T05:37:26.453" v="1906" actId="1076"/>
          <ac:spMkLst>
            <pc:docMk/>
            <pc:sldMk cId="896103148" sldId="1810"/>
            <ac:spMk id="2" creationId="{A87F003C-025A-310D-6910-89632D11BA41}"/>
          </ac:spMkLst>
        </pc:spChg>
        <pc:spChg chg="add mod">
          <ac:chgData name="牧野 充希(MAKINO Atsuki)" userId="e1bb11f1-fc18-4a8c-a6ff-e197300cb8d1" providerId="ADAL" clId="{35C470DA-8BB2-479D-B2BD-283560908224}" dt="2025-04-21T05:37:30.950" v="1907"/>
          <ac:spMkLst>
            <pc:docMk/>
            <pc:sldMk cId="896103148" sldId="1810"/>
            <ac:spMk id="3" creationId="{A058C6C7-DD6A-03A6-B337-3EF4164BE601}"/>
          </ac:spMkLst>
        </pc:spChg>
        <pc:spChg chg="add mod">
          <ac:chgData name="牧野 充希(MAKINO Atsuki)" userId="e1bb11f1-fc18-4a8c-a6ff-e197300cb8d1" providerId="ADAL" clId="{35C470DA-8BB2-479D-B2BD-283560908224}" dt="2025-04-21T05:37:47.115" v="1909" actId="14100"/>
          <ac:spMkLst>
            <pc:docMk/>
            <pc:sldMk cId="896103148" sldId="1810"/>
            <ac:spMk id="4" creationId="{DC030EA6-A826-31F5-D6CB-4A55BBC06F0D}"/>
          </ac:spMkLst>
        </pc:spChg>
        <pc:spChg chg="add mod">
          <ac:chgData name="牧野 充希(MAKINO Atsuki)" userId="e1bb11f1-fc18-4a8c-a6ff-e197300cb8d1" providerId="ADAL" clId="{35C470DA-8BB2-479D-B2BD-283560908224}" dt="2025-04-21T05:37:52.958" v="1911" actId="14100"/>
          <ac:spMkLst>
            <pc:docMk/>
            <pc:sldMk cId="896103148" sldId="1810"/>
            <ac:spMk id="7" creationId="{4CBFC462-3509-6DB1-FD00-0B8F4FC3FFBE}"/>
          </ac:spMkLst>
        </pc:spChg>
        <pc:spChg chg="add mod">
          <ac:chgData name="牧野 充希(MAKINO Atsuki)" userId="e1bb11f1-fc18-4a8c-a6ff-e197300cb8d1" providerId="ADAL" clId="{35C470DA-8BB2-479D-B2BD-283560908224}" dt="2025-04-21T05:37:58.571" v="1912"/>
          <ac:spMkLst>
            <pc:docMk/>
            <pc:sldMk cId="896103148" sldId="1810"/>
            <ac:spMk id="10" creationId="{09353F1E-9FB3-5EDC-384C-DDCE7D983F98}"/>
          </ac:spMkLst>
        </pc:spChg>
        <pc:spChg chg="add mod">
          <ac:chgData name="牧野 充希(MAKINO Atsuki)" userId="e1bb11f1-fc18-4a8c-a6ff-e197300cb8d1" providerId="ADAL" clId="{35C470DA-8BB2-479D-B2BD-283560908224}" dt="2025-04-21T05:38:06.804" v="1914"/>
          <ac:spMkLst>
            <pc:docMk/>
            <pc:sldMk cId="896103148" sldId="1810"/>
            <ac:spMk id="11" creationId="{B0EB2136-4B80-3E1D-0A59-AB104F19EEFA}"/>
          </ac:spMkLst>
        </pc:spChg>
        <pc:spChg chg="add mod">
          <ac:chgData name="牧野 充希(MAKINO Atsuki)" userId="e1bb11f1-fc18-4a8c-a6ff-e197300cb8d1" providerId="ADAL" clId="{35C470DA-8BB2-479D-B2BD-283560908224}" dt="2025-04-21T05:38:11.719" v="1915"/>
          <ac:spMkLst>
            <pc:docMk/>
            <pc:sldMk cId="896103148" sldId="1810"/>
            <ac:spMk id="12" creationId="{6D136239-7279-C0A1-CFF6-424DC88DDF4C}"/>
          </ac:spMkLst>
        </pc:spChg>
        <pc:spChg chg="add mod">
          <ac:chgData name="牧野 充希(MAKINO Atsuki)" userId="e1bb11f1-fc18-4a8c-a6ff-e197300cb8d1" providerId="ADAL" clId="{35C470DA-8BB2-479D-B2BD-283560908224}" dt="2025-04-21T05:38:15.285" v="1916"/>
          <ac:spMkLst>
            <pc:docMk/>
            <pc:sldMk cId="896103148" sldId="1810"/>
            <ac:spMk id="13" creationId="{BA282211-1FAF-07CB-71DB-7C01A386891E}"/>
          </ac:spMkLst>
        </pc:spChg>
        <pc:spChg chg="add mod">
          <ac:chgData name="牧野 充希(MAKINO Atsuki)" userId="e1bb11f1-fc18-4a8c-a6ff-e197300cb8d1" providerId="ADAL" clId="{35C470DA-8BB2-479D-B2BD-283560908224}" dt="2025-04-21T05:38:20.155" v="1917"/>
          <ac:spMkLst>
            <pc:docMk/>
            <pc:sldMk cId="896103148" sldId="1810"/>
            <ac:spMk id="14" creationId="{AB5A89DB-B16B-422F-7347-577E6C067480}"/>
          </ac:spMkLst>
        </pc:spChg>
        <pc:spChg chg="add mod">
          <ac:chgData name="牧野 充希(MAKINO Atsuki)" userId="e1bb11f1-fc18-4a8c-a6ff-e197300cb8d1" providerId="ADAL" clId="{35C470DA-8BB2-479D-B2BD-283560908224}" dt="2025-04-21T05:38:30.050" v="1918"/>
          <ac:spMkLst>
            <pc:docMk/>
            <pc:sldMk cId="896103148" sldId="1810"/>
            <ac:spMk id="15" creationId="{0BC7258B-0A7B-2760-B8A6-297BD5365F47}"/>
          </ac:spMkLst>
        </pc:spChg>
        <pc:spChg chg="add mod">
          <ac:chgData name="牧野 充希(MAKINO Atsuki)" userId="e1bb11f1-fc18-4a8c-a6ff-e197300cb8d1" providerId="ADAL" clId="{35C470DA-8BB2-479D-B2BD-283560908224}" dt="2025-04-21T05:38:30.050" v="1918"/>
          <ac:spMkLst>
            <pc:docMk/>
            <pc:sldMk cId="896103148" sldId="1810"/>
            <ac:spMk id="16" creationId="{EC926E78-163C-E8D6-2065-B0FC84F6E145}"/>
          </ac:spMkLst>
        </pc:spChg>
        <pc:spChg chg="add mod">
          <ac:chgData name="牧野 充希(MAKINO Atsuki)" userId="e1bb11f1-fc18-4a8c-a6ff-e197300cb8d1" providerId="ADAL" clId="{35C470DA-8BB2-479D-B2BD-283560908224}" dt="2025-04-21T05:38:30.050" v="1918"/>
          <ac:spMkLst>
            <pc:docMk/>
            <pc:sldMk cId="896103148" sldId="1810"/>
            <ac:spMk id="17" creationId="{4AC2CE2A-B336-62CB-3EFD-3683427E4F98}"/>
          </ac:spMkLst>
        </pc:spChg>
        <pc:spChg chg="add mod">
          <ac:chgData name="牧野 充希(MAKINO Atsuki)" userId="e1bb11f1-fc18-4a8c-a6ff-e197300cb8d1" providerId="ADAL" clId="{35C470DA-8BB2-479D-B2BD-283560908224}" dt="2025-04-21T05:38:30.050" v="1918"/>
          <ac:spMkLst>
            <pc:docMk/>
            <pc:sldMk cId="896103148" sldId="1810"/>
            <ac:spMk id="18" creationId="{A431933D-96EE-C465-60D6-71B42C7EDAEB}"/>
          </ac:spMkLst>
        </pc:spChg>
        <pc:spChg chg="add mod">
          <ac:chgData name="牧野 充希(MAKINO Atsuki)" userId="e1bb11f1-fc18-4a8c-a6ff-e197300cb8d1" providerId="ADAL" clId="{35C470DA-8BB2-479D-B2BD-283560908224}" dt="2025-04-21T05:38:30.050" v="1918"/>
          <ac:spMkLst>
            <pc:docMk/>
            <pc:sldMk cId="896103148" sldId="1810"/>
            <ac:spMk id="19" creationId="{E426B21A-FB29-EBCF-79B3-04D0607D9E3A}"/>
          </ac:spMkLst>
        </pc:spChg>
        <pc:spChg chg="add mod">
          <ac:chgData name="牧野 充希(MAKINO Atsuki)" userId="e1bb11f1-fc18-4a8c-a6ff-e197300cb8d1" providerId="ADAL" clId="{35C470DA-8BB2-479D-B2BD-283560908224}" dt="2025-04-21T05:38:30.050" v="1918"/>
          <ac:spMkLst>
            <pc:docMk/>
            <pc:sldMk cId="896103148" sldId="1810"/>
            <ac:spMk id="20" creationId="{DFB04316-FC82-45F0-6232-A5C73339FAD1}"/>
          </ac:spMkLst>
        </pc:spChg>
        <pc:spChg chg="add mod">
          <ac:chgData name="牧野 充希(MAKINO Atsuki)" userId="e1bb11f1-fc18-4a8c-a6ff-e197300cb8d1" providerId="ADAL" clId="{35C470DA-8BB2-479D-B2BD-283560908224}" dt="2025-04-21T05:38:30.050" v="1918"/>
          <ac:spMkLst>
            <pc:docMk/>
            <pc:sldMk cId="896103148" sldId="1810"/>
            <ac:spMk id="22" creationId="{0CC5D9BD-3F68-22F7-D411-6C8F7F7A420C}"/>
          </ac:spMkLst>
        </pc:spChg>
        <pc:picChg chg="add mod">
          <ac:chgData name="牧野 充希(MAKINO Atsuki)" userId="e1bb11f1-fc18-4a8c-a6ff-e197300cb8d1" providerId="ADAL" clId="{35C470DA-8BB2-479D-B2BD-283560908224}" dt="2025-04-21T05:38:30.050" v="1918"/>
          <ac:picMkLst>
            <pc:docMk/>
            <pc:sldMk cId="896103148" sldId="1810"/>
            <ac:picMk id="21" creationId="{F538E84E-C819-5E44-D00B-90059CA07457}"/>
          </ac:picMkLst>
        </pc:picChg>
      </pc:sldChg>
      <pc:sldChg chg="addSp modSp add mod">
        <pc:chgData name="牧野 充希(MAKINO Atsuki)" userId="e1bb11f1-fc18-4a8c-a6ff-e197300cb8d1" providerId="ADAL" clId="{35C470DA-8BB2-479D-B2BD-283560908224}" dt="2025-04-22T03:33:38.158" v="2701" actId="20577"/>
        <pc:sldMkLst>
          <pc:docMk/>
          <pc:sldMk cId="4036958067" sldId="1810"/>
        </pc:sldMkLst>
        <pc:spChg chg="add mod">
          <ac:chgData name="牧野 充希(MAKINO Atsuki)" userId="e1bb11f1-fc18-4a8c-a6ff-e197300cb8d1" providerId="ADAL" clId="{35C470DA-8BB2-479D-B2BD-283560908224}" dt="2025-04-22T03:32:55.831" v="2682" actId="14100"/>
          <ac:spMkLst>
            <pc:docMk/>
            <pc:sldMk cId="4036958067" sldId="1810"/>
            <ac:spMk id="2" creationId="{F5FFD9C2-A970-F8A0-7D7F-C959C590B6F2}"/>
          </ac:spMkLst>
        </pc:spChg>
        <pc:spChg chg="add mod">
          <ac:chgData name="牧野 充希(MAKINO Atsuki)" userId="e1bb11f1-fc18-4a8c-a6ff-e197300cb8d1" providerId="ADAL" clId="{35C470DA-8BB2-479D-B2BD-283560908224}" dt="2025-04-22T03:33:03.763" v="2685" actId="14100"/>
          <ac:spMkLst>
            <pc:docMk/>
            <pc:sldMk cId="4036958067" sldId="1810"/>
            <ac:spMk id="3" creationId="{DE417F91-24D6-45E2-11EA-DD88925C495F}"/>
          </ac:spMkLst>
        </pc:spChg>
        <pc:spChg chg="add mod">
          <ac:chgData name="牧野 充希(MAKINO Atsuki)" userId="e1bb11f1-fc18-4a8c-a6ff-e197300cb8d1" providerId="ADAL" clId="{35C470DA-8BB2-479D-B2BD-283560908224}" dt="2025-04-22T03:33:13.860" v="2689" actId="14100"/>
          <ac:spMkLst>
            <pc:docMk/>
            <pc:sldMk cId="4036958067" sldId="1810"/>
            <ac:spMk id="4" creationId="{595BAB98-ACD0-2FCE-88AB-7F18DB0B52E4}"/>
          </ac:spMkLst>
        </pc:spChg>
        <pc:spChg chg="add mod">
          <ac:chgData name="牧野 充希(MAKINO Atsuki)" userId="e1bb11f1-fc18-4a8c-a6ff-e197300cb8d1" providerId="ADAL" clId="{35C470DA-8BB2-479D-B2BD-283560908224}" dt="2025-04-22T03:33:11.976" v="2688" actId="14100"/>
          <ac:spMkLst>
            <pc:docMk/>
            <pc:sldMk cId="4036958067" sldId="1810"/>
            <ac:spMk id="7" creationId="{CA4E0F96-2DBC-1F8F-F4A6-5BE11A500CEB}"/>
          </ac:spMkLst>
        </pc:spChg>
        <pc:spChg chg="add mod">
          <ac:chgData name="牧野 充希(MAKINO Atsuki)" userId="e1bb11f1-fc18-4a8c-a6ff-e197300cb8d1" providerId="ADAL" clId="{35C470DA-8BB2-479D-B2BD-283560908224}" dt="2025-04-22T03:33:24.042" v="2692" actId="20577"/>
          <ac:spMkLst>
            <pc:docMk/>
            <pc:sldMk cId="4036958067" sldId="1810"/>
            <ac:spMk id="10" creationId="{0070926E-9D65-8963-AD43-1CC021F74F8C}"/>
          </ac:spMkLst>
        </pc:spChg>
        <pc:spChg chg="add mod">
          <ac:chgData name="牧野 充希(MAKINO Atsuki)" userId="e1bb11f1-fc18-4a8c-a6ff-e197300cb8d1" providerId="ADAL" clId="{35C470DA-8BB2-479D-B2BD-283560908224}" dt="2025-04-22T03:33:25.365" v="2693" actId="20577"/>
          <ac:spMkLst>
            <pc:docMk/>
            <pc:sldMk cId="4036958067" sldId="1810"/>
            <ac:spMk id="11" creationId="{3C36D468-4BBA-B295-CBB1-4592567C130F}"/>
          </ac:spMkLst>
        </pc:spChg>
        <pc:spChg chg="add mod">
          <ac:chgData name="牧野 充希(MAKINO Atsuki)" userId="e1bb11f1-fc18-4a8c-a6ff-e197300cb8d1" providerId="ADAL" clId="{35C470DA-8BB2-479D-B2BD-283560908224}" dt="2025-04-22T03:33:33.317" v="2698" actId="20577"/>
          <ac:spMkLst>
            <pc:docMk/>
            <pc:sldMk cId="4036958067" sldId="1810"/>
            <ac:spMk id="12" creationId="{3F49BE1E-6166-8D73-07FD-7ED7B5B4CEC2}"/>
          </ac:spMkLst>
        </pc:spChg>
        <pc:spChg chg="add mod">
          <ac:chgData name="牧野 充希(MAKINO Atsuki)" userId="e1bb11f1-fc18-4a8c-a6ff-e197300cb8d1" providerId="ADAL" clId="{35C470DA-8BB2-479D-B2BD-283560908224}" dt="2025-04-22T03:33:38.158" v="2701" actId="20577"/>
          <ac:spMkLst>
            <pc:docMk/>
            <pc:sldMk cId="4036958067" sldId="1810"/>
            <ac:spMk id="13" creationId="{340947B3-F05D-517A-FFD9-7826CA92BDAC}"/>
          </ac:spMkLst>
        </pc:spChg>
      </pc:sldChg>
    </pc:docChg>
  </pc:docChgLst>
  <pc:docChgLst>
    <pc:chgData name="青山 大介(AOYAMA Daisuke)" userId="62e5c414-f8d4-431e-801f-75ea3be37d37" providerId="ADAL" clId="{AA45675A-C8F9-4F33-9EC3-4396F9B69953}"/>
    <pc:docChg chg="modSld">
      <pc:chgData name="青山 大介(AOYAMA Daisuke)" userId="62e5c414-f8d4-431e-801f-75ea3be37d37" providerId="ADAL" clId="{AA45675A-C8F9-4F33-9EC3-4396F9B69953}" dt="2024-12-26T20:06:49.542" v="5" actId="1076"/>
      <pc:docMkLst>
        <pc:docMk/>
      </pc:docMkLst>
      <pc:sldChg chg="modSp mod">
        <pc:chgData name="青山 大介(AOYAMA Daisuke)" userId="62e5c414-f8d4-431e-801f-75ea3be37d37" providerId="ADAL" clId="{AA45675A-C8F9-4F33-9EC3-4396F9B69953}" dt="2024-12-26T20:06:49.542" v="5" actId="1076"/>
        <pc:sldMkLst>
          <pc:docMk/>
          <pc:sldMk cId="786981567" sldId="1800"/>
        </pc:sldMkLst>
        <pc:spChg chg="mod">
          <ac:chgData name="青山 大介(AOYAMA Daisuke)" userId="62e5c414-f8d4-431e-801f-75ea3be37d37" providerId="ADAL" clId="{AA45675A-C8F9-4F33-9EC3-4396F9B69953}" dt="2024-12-26T20:06:49.542" v="5" actId="1076"/>
          <ac:spMkLst>
            <pc:docMk/>
            <pc:sldMk cId="786981567" sldId="1800"/>
            <ac:spMk id="2" creationId="{5F2D8408-1CA6-F273-B2C3-DAE07E0C2F44}"/>
          </ac:spMkLst>
        </pc:spChg>
        <pc:spChg chg="mod">
          <ac:chgData name="青山 大介(AOYAMA Daisuke)" userId="62e5c414-f8d4-431e-801f-75ea3be37d37" providerId="ADAL" clId="{AA45675A-C8F9-4F33-9EC3-4396F9B69953}" dt="2024-12-26T20:06:35.764" v="4" actId="14100"/>
          <ac:spMkLst>
            <pc:docMk/>
            <pc:sldMk cId="786981567" sldId="1800"/>
            <ac:spMk id="3" creationId="{13CF5F74-B0CC-0804-84B5-AA312627120F}"/>
          </ac:spMkLst>
        </pc:spChg>
        <pc:spChg chg="mod">
          <ac:chgData name="青山 大介(AOYAMA Daisuke)" userId="62e5c414-f8d4-431e-801f-75ea3be37d37" providerId="ADAL" clId="{AA45675A-C8F9-4F33-9EC3-4396F9B69953}" dt="2024-12-26T20:06:20.206" v="1" actId="1076"/>
          <ac:spMkLst>
            <pc:docMk/>
            <pc:sldMk cId="786981567" sldId="1800"/>
            <ac:spMk id="4" creationId="{12809128-2959-884E-4E45-A5144B64E61E}"/>
          </ac:spMkLst>
        </pc:spChg>
      </pc:sldChg>
    </pc:docChg>
  </pc:docChgLst>
  <pc:docChgLst>
    <pc:chgData name="澤村 僚(SAWAMURA Ryo)" userId="4cfe6057-f08c-4400-b030-3b1cc012e179" providerId="ADAL" clId="{EAC640A5-805A-4767-A968-EFF0710AE39C}"/>
    <pc:docChg chg="undo custSel addSld delSld modSld sldOrd">
      <pc:chgData name="澤村 僚(SAWAMURA Ryo)" userId="4cfe6057-f08c-4400-b030-3b1cc012e179" providerId="ADAL" clId="{EAC640A5-805A-4767-A968-EFF0710AE39C}" dt="2024-04-24T17:58:27.876" v="1088" actId="2696"/>
      <pc:docMkLst>
        <pc:docMk/>
      </pc:docMkLst>
      <pc:sldChg chg="del">
        <pc:chgData name="澤村 僚(SAWAMURA Ryo)" userId="4cfe6057-f08c-4400-b030-3b1cc012e179" providerId="ADAL" clId="{EAC640A5-805A-4767-A968-EFF0710AE39C}" dt="2024-04-24T09:55:39.168" v="188" actId="47"/>
        <pc:sldMkLst>
          <pc:docMk/>
          <pc:sldMk cId="1703494022" sldId="1794"/>
        </pc:sldMkLst>
      </pc:sldChg>
      <pc:sldChg chg="addSp delSp modSp add del mod">
        <pc:chgData name="澤村 僚(SAWAMURA Ryo)" userId="4cfe6057-f08c-4400-b030-3b1cc012e179" providerId="ADAL" clId="{EAC640A5-805A-4767-A968-EFF0710AE39C}" dt="2024-04-24T17:58:17.305" v="1086" actId="2696"/>
        <pc:sldMkLst>
          <pc:docMk/>
          <pc:sldMk cId="1350526129" sldId="1796"/>
        </pc:sldMkLst>
        <pc:spChg chg="del">
          <ac:chgData name="澤村 僚(SAWAMURA Ryo)" userId="4cfe6057-f08c-4400-b030-3b1cc012e179" providerId="ADAL" clId="{EAC640A5-805A-4767-A968-EFF0710AE39C}" dt="2024-04-24T16:32:22.093" v="253" actId="478"/>
          <ac:spMkLst>
            <pc:docMk/>
            <pc:sldMk cId="1350526129" sldId="1796"/>
            <ac:spMk id="5" creationId="{6740BA51-ED12-9398-0D70-8BBF43161487}"/>
          </ac:spMkLst>
        </pc:spChg>
        <pc:spChg chg="add del mod">
          <ac:chgData name="澤村 僚(SAWAMURA Ryo)" userId="4cfe6057-f08c-4400-b030-3b1cc012e179" providerId="ADAL" clId="{EAC640A5-805A-4767-A968-EFF0710AE39C}" dt="2024-04-24T16:32:26.288" v="254" actId="478"/>
          <ac:spMkLst>
            <pc:docMk/>
            <pc:sldMk cId="1350526129" sldId="1796"/>
            <ac:spMk id="7" creationId="{53FDB7F5-98CF-7C80-283B-DD10CB385218}"/>
          </ac:spMkLst>
        </pc:spChg>
        <pc:spChg chg="add mod">
          <ac:chgData name="澤村 僚(SAWAMURA Ryo)" userId="4cfe6057-f08c-4400-b030-3b1cc012e179" providerId="ADAL" clId="{EAC640A5-805A-4767-A968-EFF0710AE39C}" dt="2024-04-24T16:32:28.119" v="255"/>
          <ac:spMkLst>
            <pc:docMk/>
            <pc:sldMk cId="1350526129" sldId="1796"/>
            <ac:spMk id="8" creationId="{28F5639B-153A-C9C6-8D71-B88513E98BDD}"/>
          </ac:spMkLst>
        </pc:spChg>
        <pc:spChg chg="add mod">
          <ac:chgData name="澤村 僚(SAWAMURA Ryo)" userId="4cfe6057-f08c-4400-b030-3b1cc012e179" providerId="ADAL" clId="{EAC640A5-805A-4767-A968-EFF0710AE39C}" dt="2024-04-24T16:32:45.481" v="266" actId="20577"/>
          <ac:spMkLst>
            <pc:docMk/>
            <pc:sldMk cId="1350526129" sldId="1796"/>
            <ac:spMk id="10" creationId="{2BAADCAC-D1F1-C3A6-984C-4F541AD45764}"/>
          </ac:spMkLst>
        </pc:spChg>
        <pc:spChg chg="add mod">
          <ac:chgData name="澤村 僚(SAWAMURA Ryo)" userId="4cfe6057-f08c-4400-b030-3b1cc012e179" providerId="ADAL" clId="{EAC640A5-805A-4767-A968-EFF0710AE39C}" dt="2024-04-24T17:15:17.281" v="873" actId="1076"/>
          <ac:spMkLst>
            <pc:docMk/>
            <pc:sldMk cId="1350526129" sldId="1796"/>
            <ac:spMk id="12" creationId="{FEF77792-B03F-F8AB-D373-EB1AD7A6FC97}"/>
          </ac:spMkLst>
        </pc:spChg>
        <pc:graphicFrameChg chg="mod modGraphic">
          <ac:chgData name="澤村 僚(SAWAMURA Ryo)" userId="4cfe6057-f08c-4400-b030-3b1cc012e179" providerId="ADAL" clId="{EAC640A5-805A-4767-A968-EFF0710AE39C}" dt="2024-04-24T17:38:29.124" v="1072" actId="20577"/>
          <ac:graphicFrameMkLst>
            <pc:docMk/>
            <pc:sldMk cId="1350526129" sldId="1796"/>
            <ac:graphicFrameMk id="3" creationId="{11C13D6C-87C3-87C3-2D96-4A1678AD8316}"/>
          </ac:graphicFrameMkLst>
        </pc:graphicFrameChg>
        <pc:graphicFrameChg chg="del mod modGraphic">
          <ac:chgData name="澤村 僚(SAWAMURA Ryo)" userId="4cfe6057-f08c-4400-b030-3b1cc012e179" providerId="ADAL" clId="{EAC640A5-805A-4767-A968-EFF0710AE39C}" dt="2024-04-24T17:37:08.193" v="1067" actId="478"/>
          <ac:graphicFrameMkLst>
            <pc:docMk/>
            <pc:sldMk cId="1350526129" sldId="1796"/>
            <ac:graphicFrameMk id="4" creationId="{B0CB6E7E-196E-F269-59D1-98DAEE96C02F}"/>
          </ac:graphicFrameMkLst>
        </pc:graphicFrameChg>
        <pc:graphicFrameChg chg="add mod">
          <ac:chgData name="澤村 僚(SAWAMURA Ryo)" userId="4cfe6057-f08c-4400-b030-3b1cc012e179" providerId="ADAL" clId="{EAC640A5-805A-4767-A968-EFF0710AE39C}" dt="2024-04-24T17:37:18.431" v="1068"/>
          <ac:graphicFrameMkLst>
            <pc:docMk/>
            <pc:sldMk cId="1350526129" sldId="1796"/>
            <ac:graphicFrameMk id="13" creationId="{93224450-9876-480F-2E9B-FE60805529A4}"/>
          </ac:graphicFrameMkLst>
        </pc:graphicFrameChg>
        <pc:picChg chg="del">
          <ac:chgData name="澤村 僚(SAWAMURA Ryo)" userId="4cfe6057-f08c-4400-b030-3b1cc012e179" providerId="ADAL" clId="{EAC640A5-805A-4767-A968-EFF0710AE39C}" dt="2024-04-24T16:12:26.610" v="198" actId="478"/>
          <ac:picMkLst>
            <pc:docMk/>
            <pc:sldMk cId="1350526129" sldId="1796"/>
            <ac:picMk id="9" creationId="{474C1F0E-626D-10C1-5911-BCF40655E7D1}"/>
          </ac:picMkLst>
        </pc:picChg>
        <pc:picChg chg="del">
          <ac:chgData name="澤村 僚(SAWAMURA Ryo)" userId="4cfe6057-f08c-4400-b030-3b1cc012e179" providerId="ADAL" clId="{EAC640A5-805A-4767-A968-EFF0710AE39C}" dt="2024-04-24T16:12:27.546" v="199" actId="478"/>
          <ac:picMkLst>
            <pc:docMk/>
            <pc:sldMk cId="1350526129" sldId="1796"/>
            <ac:picMk id="11" creationId="{D128F067-1019-D0F7-1E0D-3E6CBF8DE812}"/>
          </ac:picMkLst>
        </pc:picChg>
      </pc:sldChg>
      <pc:sldChg chg="del">
        <pc:chgData name="澤村 僚(SAWAMURA Ryo)" userId="4cfe6057-f08c-4400-b030-3b1cc012e179" providerId="ADAL" clId="{EAC640A5-805A-4767-A968-EFF0710AE39C}" dt="2024-04-24T09:29:14.673" v="183" actId="47"/>
        <pc:sldMkLst>
          <pc:docMk/>
          <pc:sldMk cId="1433748239" sldId="1797"/>
        </pc:sldMkLst>
      </pc:sldChg>
      <pc:sldChg chg="del">
        <pc:chgData name="澤村 僚(SAWAMURA Ryo)" userId="4cfe6057-f08c-4400-b030-3b1cc012e179" providerId="ADAL" clId="{EAC640A5-805A-4767-A968-EFF0710AE39C}" dt="2024-04-24T09:14:19.977" v="2" actId="47"/>
        <pc:sldMkLst>
          <pc:docMk/>
          <pc:sldMk cId="1003148262" sldId="1799"/>
        </pc:sldMkLst>
      </pc:sldChg>
      <pc:sldChg chg="addSp modSp add mod">
        <pc:chgData name="澤村 僚(SAWAMURA Ryo)" userId="4cfe6057-f08c-4400-b030-3b1cc012e179" providerId="ADAL" clId="{EAC640A5-805A-4767-A968-EFF0710AE39C}" dt="2024-04-24T09:24:49.439" v="170" actId="1076"/>
        <pc:sldMkLst>
          <pc:docMk/>
          <pc:sldMk cId="786981567" sldId="1800"/>
        </pc:sldMkLst>
        <pc:spChg chg="add mod">
          <ac:chgData name="澤村 僚(SAWAMURA Ryo)" userId="4cfe6057-f08c-4400-b030-3b1cc012e179" providerId="ADAL" clId="{EAC640A5-805A-4767-A968-EFF0710AE39C}" dt="2024-04-24T08:55:42.210" v="1"/>
          <ac:spMkLst>
            <pc:docMk/>
            <pc:sldMk cId="786981567" sldId="1800"/>
            <ac:spMk id="3" creationId="{13CF5F74-B0CC-0804-84B5-AA312627120F}"/>
          </ac:spMkLst>
        </pc:spChg>
        <pc:spChg chg="mod">
          <ac:chgData name="澤村 僚(SAWAMURA Ryo)" userId="4cfe6057-f08c-4400-b030-3b1cc012e179" providerId="ADAL" clId="{EAC640A5-805A-4767-A968-EFF0710AE39C}" dt="2024-04-24T09:24:49.439" v="170" actId="1076"/>
          <ac:spMkLst>
            <pc:docMk/>
            <pc:sldMk cId="786981567" sldId="1800"/>
            <ac:spMk id="5" creationId="{81D1DB79-8583-A99E-540E-8CB4E3888F88}"/>
          </ac:spMkLst>
        </pc:spChg>
      </pc:sldChg>
      <pc:sldChg chg="modSp add mod">
        <pc:chgData name="澤村 僚(SAWAMURA Ryo)" userId="4cfe6057-f08c-4400-b030-3b1cc012e179" providerId="ADAL" clId="{EAC640A5-805A-4767-A968-EFF0710AE39C}" dt="2024-04-24T17:05:12.517" v="805" actId="20577"/>
        <pc:sldMkLst>
          <pc:docMk/>
          <pc:sldMk cId="1731062681" sldId="1801"/>
        </pc:sldMkLst>
        <pc:graphicFrameChg chg="modGraphic">
          <ac:chgData name="澤村 僚(SAWAMURA Ryo)" userId="4cfe6057-f08c-4400-b030-3b1cc012e179" providerId="ADAL" clId="{EAC640A5-805A-4767-A968-EFF0710AE39C}" dt="2024-04-24T17:05:12.517" v="805" actId="20577"/>
          <ac:graphicFrameMkLst>
            <pc:docMk/>
            <pc:sldMk cId="1731062681" sldId="1801"/>
            <ac:graphicFrameMk id="8" creationId="{37C17ED4-31B5-BE1E-4D38-25AA300C4F1B}"/>
          </ac:graphicFrameMkLst>
        </pc:graphicFrameChg>
      </pc:sldChg>
      <pc:sldChg chg="modSp add mod">
        <pc:chgData name="澤村 僚(SAWAMURA Ryo)" userId="4cfe6057-f08c-4400-b030-3b1cc012e179" providerId="ADAL" clId="{EAC640A5-805A-4767-A968-EFF0710AE39C}" dt="2024-04-24T17:08:04.973" v="824" actId="1076"/>
        <pc:sldMkLst>
          <pc:docMk/>
          <pc:sldMk cId="2174853723" sldId="1802"/>
        </pc:sldMkLst>
        <pc:spChg chg="mod">
          <ac:chgData name="澤村 僚(SAWAMURA Ryo)" userId="4cfe6057-f08c-4400-b030-3b1cc012e179" providerId="ADAL" clId="{EAC640A5-805A-4767-A968-EFF0710AE39C}" dt="2024-04-24T17:08:04.973" v="824" actId="1076"/>
          <ac:spMkLst>
            <pc:docMk/>
            <pc:sldMk cId="2174853723" sldId="1802"/>
            <ac:spMk id="4" creationId="{79F07E1F-BD8A-6EF9-8286-94C1A647960B}"/>
          </ac:spMkLst>
        </pc:spChg>
        <pc:spChg chg="mod">
          <ac:chgData name="澤村 僚(SAWAMURA Ryo)" userId="4cfe6057-f08c-4400-b030-3b1cc012e179" providerId="ADAL" clId="{EAC640A5-805A-4767-A968-EFF0710AE39C}" dt="2024-04-24T17:04:56.795" v="797" actId="20577"/>
          <ac:spMkLst>
            <pc:docMk/>
            <pc:sldMk cId="2174853723" sldId="1802"/>
            <ac:spMk id="21" creationId="{1CE48F07-2263-E2AB-D2E2-821FF0157F73}"/>
          </ac:spMkLst>
        </pc:spChg>
        <pc:spChg chg="mod">
          <ac:chgData name="澤村 僚(SAWAMURA Ryo)" userId="4cfe6057-f08c-4400-b030-3b1cc012e179" providerId="ADAL" clId="{EAC640A5-805A-4767-A968-EFF0710AE39C}" dt="2024-04-24T17:05:27.963" v="806" actId="20577"/>
          <ac:spMkLst>
            <pc:docMk/>
            <pc:sldMk cId="2174853723" sldId="1802"/>
            <ac:spMk id="25" creationId="{6E42A63F-2890-CD55-BF86-10D64ABE91F0}"/>
          </ac:spMkLst>
        </pc:spChg>
        <pc:graphicFrameChg chg="mod modGraphic">
          <ac:chgData name="澤村 僚(SAWAMURA Ryo)" userId="4cfe6057-f08c-4400-b030-3b1cc012e179" providerId="ADAL" clId="{EAC640A5-805A-4767-A968-EFF0710AE39C}" dt="2024-04-24T17:07:46.325" v="822" actId="1076"/>
          <ac:graphicFrameMkLst>
            <pc:docMk/>
            <pc:sldMk cId="2174853723" sldId="1802"/>
            <ac:graphicFrameMk id="8" creationId="{37C17ED4-31B5-BE1E-4D38-25AA300C4F1B}"/>
          </ac:graphicFrameMkLst>
        </pc:graphicFrameChg>
      </pc:sldChg>
      <pc:sldChg chg="addSp modSp add mod">
        <pc:chgData name="澤村 僚(SAWAMURA Ryo)" userId="4cfe6057-f08c-4400-b030-3b1cc012e179" providerId="ADAL" clId="{EAC640A5-805A-4767-A968-EFF0710AE39C}" dt="2024-04-24T17:05:53.560" v="807" actId="1076"/>
        <pc:sldMkLst>
          <pc:docMk/>
          <pc:sldMk cId="4155459258" sldId="1803"/>
        </pc:sldMkLst>
        <pc:spChg chg="add mod">
          <ac:chgData name="澤村 僚(SAWAMURA Ryo)" userId="4cfe6057-f08c-4400-b030-3b1cc012e179" providerId="ADAL" clId="{EAC640A5-805A-4767-A968-EFF0710AE39C}" dt="2024-04-24T10:38:16.550" v="196"/>
          <ac:spMkLst>
            <pc:docMk/>
            <pc:sldMk cId="4155459258" sldId="1803"/>
            <ac:spMk id="3" creationId="{992659FA-9BCC-7BE8-66D6-564C9B321D15}"/>
          </ac:spMkLst>
        </pc:spChg>
        <pc:spChg chg="mod">
          <ac:chgData name="澤村 僚(SAWAMURA Ryo)" userId="4cfe6057-f08c-4400-b030-3b1cc012e179" providerId="ADAL" clId="{EAC640A5-805A-4767-A968-EFF0710AE39C}" dt="2024-04-24T09:59:26.541" v="195" actId="20577"/>
          <ac:spMkLst>
            <pc:docMk/>
            <pc:sldMk cId="4155459258" sldId="1803"/>
            <ac:spMk id="8" creationId="{D7FDF8F7-1165-88FF-2A7D-D571C1D4BFAE}"/>
          </ac:spMkLst>
        </pc:spChg>
        <pc:graphicFrameChg chg="mod">
          <ac:chgData name="澤村 僚(SAWAMURA Ryo)" userId="4cfe6057-f08c-4400-b030-3b1cc012e179" providerId="ADAL" clId="{EAC640A5-805A-4767-A968-EFF0710AE39C}" dt="2024-04-24T17:05:53.560" v="807" actId="1076"/>
          <ac:graphicFrameMkLst>
            <pc:docMk/>
            <pc:sldMk cId="4155459258" sldId="1803"/>
            <ac:graphicFrameMk id="11" creationId="{ACF7D667-AD41-DFCA-B65A-E63FABE01CF7}"/>
          </ac:graphicFrameMkLst>
        </pc:graphicFrameChg>
      </pc:sldChg>
      <pc:sldChg chg="modSp add del mod">
        <pc:chgData name="澤村 僚(SAWAMURA Ryo)" userId="4cfe6057-f08c-4400-b030-3b1cc012e179" providerId="ADAL" clId="{EAC640A5-805A-4767-A968-EFF0710AE39C}" dt="2024-04-24T17:58:27.876" v="1088" actId="2696"/>
        <pc:sldMkLst>
          <pc:docMk/>
          <pc:sldMk cId="3249850689" sldId="1804"/>
        </pc:sldMkLst>
        <pc:spChg chg="mod">
          <ac:chgData name="澤村 僚(SAWAMURA Ryo)" userId="4cfe6057-f08c-4400-b030-3b1cc012e179" providerId="ADAL" clId="{EAC640A5-805A-4767-A968-EFF0710AE39C}" dt="2024-04-24T17:39:24.600" v="1085" actId="20577"/>
          <ac:spMkLst>
            <pc:docMk/>
            <pc:sldMk cId="3249850689" sldId="1804"/>
            <ac:spMk id="8" creationId="{D7FDF8F7-1165-88FF-2A7D-D571C1D4BFAE}"/>
          </ac:spMkLst>
        </pc:spChg>
        <pc:graphicFrameChg chg="mod">
          <ac:chgData name="澤村 僚(SAWAMURA Ryo)" userId="4cfe6057-f08c-4400-b030-3b1cc012e179" providerId="ADAL" clId="{EAC640A5-805A-4767-A968-EFF0710AE39C}" dt="2024-04-24T17:33:15.862" v="992" actId="1076"/>
          <ac:graphicFrameMkLst>
            <pc:docMk/>
            <pc:sldMk cId="3249850689" sldId="1804"/>
            <ac:graphicFrameMk id="11" creationId="{ACF7D667-AD41-DFCA-B65A-E63FABE01CF7}"/>
          </ac:graphicFrameMkLst>
        </pc:graphicFrameChg>
      </pc:sldChg>
      <pc:sldChg chg="addSp modSp add del mod">
        <pc:chgData name="澤村 僚(SAWAMURA Ryo)" userId="4cfe6057-f08c-4400-b030-3b1cc012e179" providerId="ADAL" clId="{EAC640A5-805A-4767-A968-EFF0710AE39C}" dt="2024-04-24T17:58:24.852" v="1087" actId="2696"/>
        <pc:sldMkLst>
          <pc:docMk/>
          <pc:sldMk cId="4090880940" sldId="1805"/>
        </pc:sldMkLst>
        <pc:spChg chg="add mod">
          <ac:chgData name="澤村 僚(SAWAMURA Ryo)" userId="4cfe6057-f08c-4400-b030-3b1cc012e179" providerId="ADAL" clId="{EAC640A5-805A-4767-A968-EFF0710AE39C}" dt="2024-04-24T17:07:18.111" v="816" actId="14100"/>
          <ac:spMkLst>
            <pc:docMk/>
            <pc:sldMk cId="4090880940" sldId="1805"/>
            <ac:spMk id="2" creationId="{C1994778-3866-BEC8-9342-771D44BAB01A}"/>
          </ac:spMkLst>
        </pc:spChg>
        <pc:spChg chg="add mod">
          <ac:chgData name="澤村 僚(SAWAMURA Ryo)" userId="4cfe6057-f08c-4400-b030-3b1cc012e179" providerId="ADAL" clId="{EAC640A5-805A-4767-A968-EFF0710AE39C}" dt="2024-04-24T17:14:56.416" v="870" actId="14100"/>
          <ac:spMkLst>
            <pc:docMk/>
            <pc:sldMk cId="4090880940" sldId="1805"/>
            <ac:spMk id="5" creationId="{A15210BD-AC66-5CE5-325A-0EDC77FCB3D5}"/>
          </ac:spMkLst>
        </pc:spChg>
        <pc:spChg chg="add mod">
          <ac:chgData name="澤村 僚(SAWAMURA Ryo)" userId="4cfe6057-f08c-4400-b030-3b1cc012e179" providerId="ADAL" clId="{EAC640A5-805A-4767-A968-EFF0710AE39C}" dt="2024-04-24T17:14:53.550" v="869" actId="1076"/>
          <ac:spMkLst>
            <pc:docMk/>
            <pc:sldMk cId="4090880940" sldId="1805"/>
            <ac:spMk id="7" creationId="{9ABF7236-074C-4D5A-D44E-E46A91B9F70E}"/>
          </ac:spMkLst>
        </pc:spChg>
        <pc:spChg chg="mod">
          <ac:chgData name="澤村 僚(SAWAMURA Ryo)" userId="4cfe6057-f08c-4400-b030-3b1cc012e179" providerId="ADAL" clId="{EAC640A5-805A-4767-A968-EFF0710AE39C}" dt="2024-04-24T17:11:39.972" v="847" actId="403"/>
          <ac:spMkLst>
            <pc:docMk/>
            <pc:sldMk cId="4090880940" sldId="1805"/>
            <ac:spMk id="8" creationId="{28F5639B-153A-C9C6-8D71-B88513E98BDD}"/>
          </ac:spMkLst>
        </pc:spChg>
        <pc:spChg chg="add mod">
          <ac:chgData name="澤村 僚(SAWAMURA Ryo)" userId="4cfe6057-f08c-4400-b030-3b1cc012e179" providerId="ADAL" clId="{EAC640A5-805A-4767-A968-EFF0710AE39C}" dt="2024-04-24T17:15:01.428" v="871" actId="1076"/>
          <ac:spMkLst>
            <pc:docMk/>
            <pc:sldMk cId="4090880940" sldId="1805"/>
            <ac:spMk id="9" creationId="{42BE093D-B1B9-255A-CAEB-C3DD53AD9C2E}"/>
          </ac:spMkLst>
        </pc:spChg>
        <pc:spChg chg="mod">
          <ac:chgData name="澤村 僚(SAWAMURA Ryo)" userId="4cfe6057-f08c-4400-b030-3b1cc012e179" providerId="ADAL" clId="{EAC640A5-805A-4767-A968-EFF0710AE39C}" dt="2024-04-24T17:12:05.575" v="852" actId="1076"/>
          <ac:spMkLst>
            <pc:docMk/>
            <pc:sldMk cId="4090880940" sldId="1805"/>
            <ac:spMk id="10" creationId="{2BAADCAC-D1F1-C3A6-984C-4F541AD45764}"/>
          </ac:spMkLst>
        </pc:spChg>
        <pc:spChg chg="add mod">
          <ac:chgData name="澤村 僚(SAWAMURA Ryo)" userId="4cfe6057-f08c-4400-b030-3b1cc012e179" providerId="ADAL" clId="{EAC640A5-805A-4767-A968-EFF0710AE39C}" dt="2024-04-24T17:11:45.561" v="848" actId="1076"/>
          <ac:spMkLst>
            <pc:docMk/>
            <pc:sldMk cId="4090880940" sldId="1805"/>
            <ac:spMk id="11" creationId="{EEB975FB-26C7-0357-CCEF-322789A5818D}"/>
          </ac:spMkLst>
        </pc:spChg>
        <pc:spChg chg="add mod">
          <ac:chgData name="澤村 僚(SAWAMURA Ryo)" userId="4cfe6057-f08c-4400-b030-3b1cc012e179" providerId="ADAL" clId="{EAC640A5-805A-4767-A968-EFF0710AE39C}" dt="2024-04-24T17:15:07.479" v="872" actId="1076"/>
          <ac:spMkLst>
            <pc:docMk/>
            <pc:sldMk cId="4090880940" sldId="1805"/>
            <ac:spMk id="12" creationId="{6C4E6462-2813-BC13-44B8-C16503C007D7}"/>
          </ac:spMkLst>
        </pc:spChg>
        <pc:spChg chg="add mod">
          <ac:chgData name="澤村 僚(SAWAMURA Ryo)" userId="4cfe6057-f08c-4400-b030-3b1cc012e179" providerId="ADAL" clId="{EAC640A5-805A-4767-A968-EFF0710AE39C}" dt="2024-04-24T17:15:29.409" v="874"/>
          <ac:spMkLst>
            <pc:docMk/>
            <pc:sldMk cId="4090880940" sldId="1805"/>
            <ac:spMk id="13" creationId="{87D06DAF-7F72-9DC4-5AFE-EE9A9EB0A7BE}"/>
          </ac:spMkLst>
        </pc:spChg>
        <pc:spChg chg="add mod">
          <ac:chgData name="澤村 僚(SAWAMURA Ryo)" userId="4cfe6057-f08c-4400-b030-3b1cc012e179" providerId="ADAL" clId="{EAC640A5-805A-4767-A968-EFF0710AE39C}" dt="2024-04-24T17:15:46.370" v="876" actId="1076"/>
          <ac:spMkLst>
            <pc:docMk/>
            <pc:sldMk cId="4090880940" sldId="1805"/>
            <ac:spMk id="14" creationId="{4FC6F981-1330-DF0D-54BB-32E00F273C94}"/>
          </ac:spMkLst>
        </pc:spChg>
        <pc:spChg chg="add mod">
          <ac:chgData name="澤村 僚(SAWAMURA Ryo)" userId="4cfe6057-f08c-4400-b030-3b1cc012e179" providerId="ADAL" clId="{EAC640A5-805A-4767-A968-EFF0710AE39C}" dt="2024-04-24T17:15:59.792" v="878" actId="1076"/>
          <ac:spMkLst>
            <pc:docMk/>
            <pc:sldMk cId="4090880940" sldId="1805"/>
            <ac:spMk id="15" creationId="{7A375DE6-AB41-E3C8-757A-C276B44099A3}"/>
          </ac:spMkLst>
        </pc:spChg>
        <pc:spChg chg="add mod">
          <ac:chgData name="澤村 僚(SAWAMURA Ryo)" userId="4cfe6057-f08c-4400-b030-3b1cc012e179" providerId="ADAL" clId="{EAC640A5-805A-4767-A968-EFF0710AE39C}" dt="2024-04-24T17:16:14.931" v="880" actId="1076"/>
          <ac:spMkLst>
            <pc:docMk/>
            <pc:sldMk cId="4090880940" sldId="1805"/>
            <ac:spMk id="16" creationId="{8F868034-9FCA-7B61-B22D-3993BECECB13}"/>
          </ac:spMkLst>
        </pc:spChg>
        <pc:spChg chg="add mod">
          <ac:chgData name="澤村 僚(SAWAMURA Ryo)" userId="4cfe6057-f08c-4400-b030-3b1cc012e179" providerId="ADAL" clId="{EAC640A5-805A-4767-A968-EFF0710AE39C}" dt="2024-04-24T17:36:07.164" v="1057"/>
          <ac:spMkLst>
            <pc:docMk/>
            <pc:sldMk cId="4090880940" sldId="1805"/>
            <ac:spMk id="17" creationId="{A165D4A6-8858-34CA-4309-DD640915EDF5}"/>
          </ac:spMkLst>
        </pc:spChg>
        <pc:spChg chg="add mod">
          <ac:chgData name="澤村 僚(SAWAMURA Ryo)" userId="4cfe6057-f08c-4400-b030-3b1cc012e179" providerId="ADAL" clId="{EAC640A5-805A-4767-A968-EFF0710AE39C}" dt="2024-04-24T17:16:53.348" v="885"/>
          <ac:spMkLst>
            <pc:docMk/>
            <pc:sldMk cId="4090880940" sldId="1805"/>
            <ac:spMk id="18" creationId="{BEB95044-79B3-53FA-1AA2-DBC71FEB4C63}"/>
          </ac:spMkLst>
        </pc:spChg>
        <pc:spChg chg="add mod">
          <ac:chgData name="澤村 僚(SAWAMURA Ryo)" userId="4cfe6057-f08c-4400-b030-3b1cc012e179" providerId="ADAL" clId="{EAC640A5-805A-4767-A968-EFF0710AE39C}" dt="2024-04-24T17:39:07.133" v="1080" actId="20577"/>
          <ac:spMkLst>
            <pc:docMk/>
            <pc:sldMk cId="4090880940" sldId="1805"/>
            <ac:spMk id="19" creationId="{C00D7FAB-EF2E-530E-D0CB-CBA6701ED198}"/>
          </ac:spMkLst>
        </pc:spChg>
        <pc:spChg chg="add mod">
          <ac:chgData name="澤村 僚(SAWAMURA Ryo)" userId="4cfe6057-f08c-4400-b030-3b1cc012e179" providerId="ADAL" clId="{EAC640A5-805A-4767-A968-EFF0710AE39C}" dt="2024-04-24T17:17:28.814" v="893" actId="20577"/>
          <ac:spMkLst>
            <pc:docMk/>
            <pc:sldMk cId="4090880940" sldId="1805"/>
            <ac:spMk id="20" creationId="{DF1765CA-6E12-0D8C-E0F2-6B3C0EF46C0E}"/>
          </ac:spMkLst>
        </pc:spChg>
        <pc:spChg chg="add mod">
          <ac:chgData name="澤村 僚(SAWAMURA Ryo)" userId="4cfe6057-f08c-4400-b030-3b1cc012e179" providerId="ADAL" clId="{EAC640A5-805A-4767-A968-EFF0710AE39C}" dt="2024-04-24T17:17:44.031" v="895"/>
          <ac:spMkLst>
            <pc:docMk/>
            <pc:sldMk cId="4090880940" sldId="1805"/>
            <ac:spMk id="22" creationId="{FE4080B5-1B23-D03A-5CAE-5E2B7671DB3F}"/>
          </ac:spMkLst>
        </pc:spChg>
        <pc:graphicFrameChg chg="mod modGraphic">
          <ac:chgData name="澤村 僚(SAWAMURA Ryo)" userId="4cfe6057-f08c-4400-b030-3b1cc012e179" providerId="ADAL" clId="{EAC640A5-805A-4767-A968-EFF0710AE39C}" dt="2024-04-24T17:38:36.717" v="1076" actId="20577"/>
          <ac:graphicFrameMkLst>
            <pc:docMk/>
            <pc:sldMk cId="4090880940" sldId="1805"/>
            <ac:graphicFrameMk id="3" creationId="{11C13D6C-87C3-87C3-2D96-4A1678AD8316}"/>
          </ac:graphicFrameMkLst>
        </pc:graphicFrameChg>
        <pc:graphicFrameChg chg="mod modGraphic">
          <ac:chgData name="澤村 僚(SAWAMURA Ryo)" userId="4cfe6057-f08c-4400-b030-3b1cc012e179" providerId="ADAL" clId="{EAC640A5-805A-4767-A968-EFF0710AE39C}" dt="2024-04-24T17:36:36.770" v="1062" actId="1076"/>
          <ac:graphicFrameMkLst>
            <pc:docMk/>
            <pc:sldMk cId="4090880940" sldId="1805"/>
            <ac:graphicFrameMk id="4" creationId="{B0CB6E7E-196E-F269-59D1-98DAEE96C02F}"/>
          </ac:graphicFrameMkLst>
        </pc:graphicFrameChg>
        <pc:graphicFrameChg chg="add mod">
          <ac:chgData name="澤村 僚(SAWAMURA Ryo)" userId="4cfe6057-f08c-4400-b030-3b1cc012e179" providerId="ADAL" clId="{EAC640A5-805A-4767-A968-EFF0710AE39C}" dt="2024-04-24T17:17:31.256" v="894"/>
          <ac:graphicFrameMkLst>
            <pc:docMk/>
            <pc:sldMk cId="4090880940" sldId="1805"/>
            <ac:graphicFrameMk id="21" creationId="{B1B4F11B-162D-410B-4338-10F05DEA1555}"/>
          </ac:graphicFrameMkLst>
        </pc:graphicFrameChg>
      </pc:sldChg>
      <pc:sldChg chg="add del ord">
        <pc:chgData name="澤村 僚(SAWAMURA Ryo)" userId="4cfe6057-f08c-4400-b030-3b1cc012e179" providerId="ADAL" clId="{EAC640A5-805A-4767-A968-EFF0710AE39C}" dt="2024-04-24T17:17:50.601" v="896" actId="47"/>
        <pc:sldMkLst>
          <pc:docMk/>
          <pc:sldMk cId="521544119" sldId="1806"/>
        </pc:sldMkLst>
      </pc:sldChg>
    </pc:docChg>
  </pc:docChgLst>
  <pc:docChgLst>
    <pc:chgData name="牧野 充希(MAKINO Atsuki)" userId="e1bb11f1-fc18-4a8c-a6ff-e197300cb8d1" providerId="ADAL" clId="{2D0814DC-038E-4566-A7DE-7C8C2873F60A}"/>
    <pc:docChg chg="custSel modSld">
      <pc:chgData name="牧野 充希(MAKINO Atsuki)" userId="e1bb11f1-fc18-4a8c-a6ff-e197300cb8d1" providerId="ADAL" clId="{2D0814DC-038E-4566-A7DE-7C8C2873F60A}" dt="2025-04-26T06:07:38.677" v="131"/>
      <pc:docMkLst>
        <pc:docMk/>
      </pc:docMkLst>
      <pc:sldChg chg="modSp mod">
        <pc:chgData name="牧野 充希(MAKINO Atsuki)" userId="e1bb11f1-fc18-4a8c-a6ff-e197300cb8d1" providerId="ADAL" clId="{2D0814DC-038E-4566-A7DE-7C8C2873F60A}" dt="2025-04-23T13:22:17.983" v="13" actId="20577"/>
        <pc:sldMkLst>
          <pc:docMk/>
          <pc:sldMk cId="4155459258" sldId="1803"/>
        </pc:sldMkLst>
        <pc:spChg chg="mod">
          <ac:chgData name="牧野 充希(MAKINO Atsuki)" userId="e1bb11f1-fc18-4a8c-a6ff-e197300cb8d1" providerId="ADAL" clId="{2D0814DC-038E-4566-A7DE-7C8C2873F60A}" dt="2025-04-23T13:22:17.983" v="13" actId="20577"/>
          <ac:spMkLst>
            <pc:docMk/>
            <pc:sldMk cId="4155459258" sldId="1803"/>
            <ac:spMk id="2" creationId="{CAA6AC28-4973-3211-157C-4AD1E7CE6B10}"/>
          </ac:spMkLst>
        </pc:spChg>
      </pc:sldChg>
      <pc:sldChg chg="addSp delSp modSp mod">
        <pc:chgData name="牧野 充希(MAKINO Atsuki)" userId="e1bb11f1-fc18-4a8c-a6ff-e197300cb8d1" providerId="ADAL" clId="{2D0814DC-038E-4566-A7DE-7C8C2873F60A}" dt="2025-04-26T06:07:09.474" v="100"/>
        <pc:sldMkLst>
          <pc:docMk/>
          <pc:sldMk cId="3494048592" sldId="1805"/>
        </pc:sldMkLst>
        <pc:spChg chg="add mod">
          <ac:chgData name="牧野 充希(MAKINO Atsuki)" userId="e1bb11f1-fc18-4a8c-a6ff-e197300cb8d1" providerId="ADAL" clId="{2D0814DC-038E-4566-A7DE-7C8C2873F60A}" dt="2025-04-26T06:07:09.474" v="100"/>
          <ac:spMkLst>
            <pc:docMk/>
            <pc:sldMk cId="3494048592" sldId="1805"/>
            <ac:spMk id="2" creationId="{8B8B689B-0EF5-CB3B-31C4-06DA6CDF85D6}"/>
          </ac:spMkLst>
        </pc:spChg>
        <pc:spChg chg="del">
          <ac:chgData name="牧野 充希(MAKINO Atsuki)" userId="e1bb11f1-fc18-4a8c-a6ff-e197300cb8d1" providerId="ADAL" clId="{2D0814DC-038E-4566-A7DE-7C8C2873F60A}" dt="2025-04-26T06:07:08.847" v="99" actId="478"/>
          <ac:spMkLst>
            <pc:docMk/>
            <pc:sldMk cId="3494048592" sldId="1805"/>
            <ac:spMk id="10" creationId="{35543A15-5B1D-8CB3-2CC6-E1EA7F2D4B43}"/>
          </ac:spMkLst>
        </pc:spChg>
      </pc:sldChg>
      <pc:sldChg chg="addSp delSp modSp mod">
        <pc:chgData name="牧野 充希(MAKINO Atsuki)" userId="e1bb11f1-fc18-4a8c-a6ff-e197300cb8d1" providerId="ADAL" clId="{2D0814DC-038E-4566-A7DE-7C8C2873F60A}" dt="2025-04-26T06:07:12.492" v="102"/>
        <pc:sldMkLst>
          <pc:docMk/>
          <pc:sldMk cId="1539400230" sldId="1806"/>
        </pc:sldMkLst>
        <pc:spChg chg="add mod">
          <ac:chgData name="牧野 充希(MAKINO Atsuki)" userId="e1bb11f1-fc18-4a8c-a6ff-e197300cb8d1" providerId="ADAL" clId="{2D0814DC-038E-4566-A7DE-7C8C2873F60A}" dt="2025-04-26T06:07:12.492" v="102"/>
          <ac:spMkLst>
            <pc:docMk/>
            <pc:sldMk cId="1539400230" sldId="1806"/>
            <ac:spMk id="10" creationId="{EE80382C-EA5F-177D-A449-360CA49CB918}"/>
          </ac:spMkLst>
        </pc:spChg>
        <pc:spChg chg="del">
          <ac:chgData name="牧野 充希(MAKINO Atsuki)" userId="e1bb11f1-fc18-4a8c-a6ff-e197300cb8d1" providerId="ADAL" clId="{2D0814DC-038E-4566-A7DE-7C8C2873F60A}" dt="2025-04-26T06:07:12.240" v="101" actId="478"/>
          <ac:spMkLst>
            <pc:docMk/>
            <pc:sldMk cId="1539400230" sldId="1806"/>
            <ac:spMk id="15" creationId="{C5F075E2-7332-766F-8FA3-BD6D4A460ED7}"/>
          </ac:spMkLst>
        </pc:spChg>
      </pc:sldChg>
      <pc:sldChg chg="addSp delSp modSp mod">
        <pc:chgData name="牧野 充希(MAKINO Atsuki)" userId="e1bb11f1-fc18-4a8c-a6ff-e197300cb8d1" providerId="ADAL" clId="{2D0814DC-038E-4566-A7DE-7C8C2873F60A}" dt="2025-04-26T06:07:17.018" v="104"/>
        <pc:sldMkLst>
          <pc:docMk/>
          <pc:sldMk cId="3361803510" sldId="1807"/>
        </pc:sldMkLst>
        <pc:spChg chg="mod">
          <ac:chgData name="牧野 充希(MAKINO Atsuki)" userId="e1bb11f1-fc18-4a8c-a6ff-e197300cb8d1" providerId="ADAL" clId="{2D0814DC-038E-4566-A7DE-7C8C2873F60A}" dt="2025-04-23T13:22:32.764" v="61" actId="20577"/>
          <ac:spMkLst>
            <pc:docMk/>
            <pc:sldMk cId="3361803510" sldId="1807"/>
            <ac:spMk id="2" creationId="{CAA6AC28-4973-3211-157C-4AD1E7CE6B10}"/>
          </ac:spMkLst>
        </pc:spChg>
        <pc:spChg chg="add mod">
          <ac:chgData name="牧野 充希(MAKINO Atsuki)" userId="e1bb11f1-fc18-4a8c-a6ff-e197300cb8d1" providerId="ADAL" clId="{2D0814DC-038E-4566-A7DE-7C8C2873F60A}" dt="2025-04-26T06:07:17.018" v="104"/>
          <ac:spMkLst>
            <pc:docMk/>
            <pc:sldMk cId="3361803510" sldId="1807"/>
            <ac:spMk id="3" creationId="{47638803-8A90-8E65-0A3E-262EF3AEF946}"/>
          </ac:spMkLst>
        </pc:spChg>
        <pc:spChg chg="del">
          <ac:chgData name="牧野 充希(MAKINO Atsuki)" userId="e1bb11f1-fc18-4a8c-a6ff-e197300cb8d1" providerId="ADAL" clId="{2D0814DC-038E-4566-A7DE-7C8C2873F60A}" dt="2025-04-26T06:07:16.798" v="103" actId="478"/>
          <ac:spMkLst>
            <pc:docMk/>
            <pc:sldMk cId="3361803510" sldId="1807"/>
            <ac:spMk id="4" creationId="{46D89142-794A-1C69-7B9D-A6954B332BED}"/>
          </ac:spMkLst>
        </pc:spChg>
      </pc:sldChg>
      <pc:sldChg chg="addSp delSp modSp mod">
        <pc:chgData name="牧野 充希(MAKINO Atsuki)" userId="e1bb11f1-fc18-4a8c-a6ff-e197300cb8d1" providerId="ADAL" clId="{2D0814DC-038E-4566-A7DE-7C8C2873F60A}" dt="2025-04-26T06:07:35.309" v="129"/>
        <pc:sldMkLst>
          <pc:docMk/>
          <pc:sldMk cId="2260495983" sldId="1808"/>
        </pc:sldMkLst>
        <pc:spChg chg="add mod">
          <ac:chgData name="牧野 充希(MAKINO Atsuki)" userId="e1bb11f1-fc18-4a8c-a6ff-e197300cb8d1" providerId="ADAL" clId="{2D0814DC-038E-4566-A7DE-7C8C2873F60A}" dt="2025-04-26T06:07:35.309" v="129"/>
          <ac:spMkLst>
            <pc:docMk/>
            <pc:sldMk cId="2260495983" sldId="1808"/>
            <ac:spMk id="4" creationId="{0D89987C-8826-47D4-3539-C1F5CF9F82B9}"/>
          </ac:spMkLst>
        </pc:spChg>
        <pc:spChg chg="del">
          <ac:chgData name="牧野 充希(MAKINO Atsuki)" userId="e1bb11f1-fc18-4a8c-a6ff-e197300cb8d1" providerId="ADAL" clId="{2D0814DC-038E-4566-A7DE-7C8C2873F60A}" dt="2025-04-26T06:07:35.105" v="128" actId="478"/>
          <ac:spMkLst>
            <pc:docMk/>
            <pc:sldMk cId="2260495983" sldId="1808"/>
            <ac:spMk id="9" creationId="{D4562A9B-C477-BA42-D1FF-B61BF4C1BE52}"/>
          </ac:spMkLst>
        </pc:spChg>
      </pc:sldChg>
      <pc:sldChg chg="addSp delSp modSp mod">
        <pc:chgData name="牧野 充希(MAKINO Atsuki)" userId="e1bb11f1-fc18-4a8c-a6ff-e197300cb8d1" providerId="ADAL" clId="{2D0814DC-038E-4566-A7DE-7C8C2873F60A}" dt="2025-04-26T06:07:38.677" v="131"/>
        <pc:sldMkLst>
          <pc:docMk/>
          <pc:sldMk cId="2538732313" sldId="1809"/>
        </pc:sldMkLst>
        <pc:spChg chg="mod">
          <ac:chgData name="牧野 充希(MAKINO Atsuki)" userId="e1bb11f1-fc18-4a8c-a6ff-e197300cb8d1" providerId="ADAL" clId="{2D0814DC-038E-4566-A7DE-7C8C2873F60A}" dt="2025-04-23T13:22:44.063" v="98" actId="20577"/>
          <ac:spMkLst>
            <pc:docMk/>
            <pc:sldMk cId="2538732313" sldId="1809"/>
            <ac:spMk id="2" creationId="{CAA6AC28-4973-3211-157C-4AD1E7CE6B10}"/>
          </ac:spMkLst>
        </pc:spChg>
        <pc:spChg chg="del">
          <ac:chgData name="牧野 充希(MAKINO Atsuki)" userId="e1bb11f1-fc18-4a8c-a6ff-e197300cb8d1" providerId="ADAL" clId="{2D0814DC-038E-4566-A7DE-7C8C2873F60A}" dt="2025-04-26T06:07:38.452" v="130" actId="478"/>
          <ac:spMkLst>
            <pc:docMk/>
            <pc:sldMk cId="2538732313" sldId="1809"/>
            <ac:spMk id="3" creationId="{AD7D05FE-EB06-CABF-3A71-2F35A962C383}"/>
          </ac:spMkLst>
        </pc:spChg>
        <pc:spChg chg="add mod">
          <ac:chgData name="牧野 充希(MAKINO Atsuki)" userId="e1bb11f1-fc18-4a8c-a6ff-e197300cb8d1" providerId="ADAL" clId="{2D0814DC-038E-4566-A7DE-7C8C2873F60A}" dt="2025-04-26T06:07:38.677" v="131"/>
          <ac:spMkLst>
            <pc:docMk/>
            <pc:sldMk cId="2538732313" sldId="1809"/>
            <ac:spMk id="4" creationId="{A0283E34-6CE4-38AE-001B-CB03E147141C}"/>
          </ac:spMkLst>
        </pc:spChg>
      </pc:sldChg>
      <pc:sldChg chg="addSp delSp modSp mod">
        <pc:chgData name="牧野 充希(MAKINO Atsuki)" userId="e1bb11f1-fc18-4a8c-a6ff-e197300cb8d1" providerId="ADAL" clId="{2D0814DC-038E-4566-A7DE-7C8C2873F60A}" dt="2025-04-26T06:07:28.488" v="127" actId="20577"/>
        <pc:sldMkLst>
          <pc:docMk/>
          <pc:sldMk cId="4267065186" sldId="1812"/>
        </pc:sldMkLst>
        <pc:spChg chg="add mod">
          <ac:chgData name="牧野 充希(MAKINO Atsuki)" userId="e1bb11f1-fc18-4a8c-a6ff-e197300cb8d1" providerId="ADAL" clId="{2D0814DC-038E-4566-A7DE-7C8C2873F60A}" dt="2025-04-26T06:07:28.488" v="127" actId="20577"/>
          <ac:spMkLst>
            <pc:docMk/>
            <pc:sldMk cId="4267065186" sldId="1812"/>
            <ac:spMk id="4" creationId="{6EB9ACD8-7245-C858-ECE5-748387CAD09F}"/>
          </ac:spMkLst>
        </pc:spChg>
        <pc:spChg chg="del">
          <ac:chgData name="牧野 充希(MAKINO Atsuki)" userId="e1bb11f1-fc18-4a8c-a6ff-e197300cb8d1" providerId="ADAL" clId="{2D0814DC-038E-4566-A7DE-7C8C2873F60A}" dt="2025-04-26T06:07:20.209" v="105" actId="478"/>
          <ac:spMkLst>
            <pc:docMk/>
            <pc:sldMk cId="4267065186" sldId="1812"/>
            <ac:spMk id="9" creationId="{D4562A9B-C477-BA42-D1FF-B61BF4C1BE52}"/>
          </ac:spMkLst>
        </pc:spChg>
      </pc:sldChg>
    </pc:docChg>
  </pc:docChgLst>
  <pc:docChgLst>
    <pc:chgData name="牧野 英明(MAKINO Hideaki)" userId="S::hideaki.makino.d3z@cas.go.jp::a4f77797-a96b-4200-9bec-45822309ec52" providerId="AD" clId="Web-{C0AABB3F-F403-465D-AF7E-47116D17FB38}"/>
    <pc:docChg chg="modSld">
      <pc:chgData name="牧野 英明(MAKINO Hideaki)" userId="S::hideaki.makino.d3z@cas.go.jp::a4f77797-a96b-4200-9bec-45822309ec52" providerId="AD" clId="Web-{C0AABB3F-F403-465D-AF7E-47116D17FB38}" dt="2025-04-21T01:24:20.893" v="1"/>
      <pc:docMkLst>
        <pc:docMk/>
      </pc:docMkLst>
      <pc:sldChg chg="modSp">
        <pc:chgData name="牧野 英明(MAKINO Hideaki)" userId="S::hideaki.makino.d3z@cas.go.jp::a4f77797-a96b-4200-9bec-45822309ec52" providerId="AD" clId="Web-{C0AABB3F-F403-465D-AF7E-47116D17FB38}" dt="2025-04-21T01:24:20.893" v="1"/>
        <pc:sldMkLst>
          <pc:docMk/>
          <pc:sldMk cId="1731062681" sldId="1801"/>
        </pc:sldMkLst>
        <pc:graphicFrameChg chg="mod modGraphic">
          <ac:chgData name="牧野 英明(MAKINO Hideaki)" userId="S::hideaki.makino.d3z@cas.go.jp::a4f77797-a96b-4200-9bec-45822309ec52" providerId="AD" clId="Web-{C0AABB3F-F403-465D-AF7E-47116D17FB38}" dt="2025-04-21T01:24:20.893" v="1"/>
          <ac:graphicFrameMkLst>
            <pc:docMk/>
            <pc:sldMk cId="1731062681" sldId="1801"/>
            <ac:graphicFrameMk id="8" creationId="{37C17ED4-31B5-BE1E-4D38-25AA300C4F1B}"/>
          </ac:graphicFrameMkLst>
        </pc:graphicFrameChg>
      </pc:sldChg>
    </pc:docChg>
  </pc:docChgLst>
  <pc:docChgLst>
    <pc:chgData name="澤村 僚(SAWAMURA Ryo)" userId="4cfe6057-f08c-4400-b030-3b1cc012e179" providerId="ADAL" clId="{090D3D48-C4A9-4517-93AA-0E2D39FAAE00}"/>
    <pc:docChg chg="undo redo custSel modSld">
      <pc:chgData name="澤村 僚(SAWAMURA Ryo)" userId="4cfe6057-f08c-4400-b030-3b1cc012e179" providerId="ADAL" clId="{090D3D48-C4A9-4517-93AA-0E2D39FAAE00}" dt="2025-01-17T06:22:07.851" v="7" actId="14100"/>
      <pc:docMkLst>
        <pc:docMk/>
      </pc:docMkLst>
      <pc:sldChg chg="modSp mod">
        <pc:chgData name="澤村 僚(SAWAMURA Ryo)" userId="4cfe6057-f08c-4400-b030-3b1cc012e179" providerId="ADAL" clId="{090D3D48-C4A9-4517-93AA-0E2D39FAAE00}" dt="2025-01-17T06:22:07.851" v="7" actId="14100"/>
        <pc:sldMkLst>
          <pc:docMk/>
          <pc:sldMk cId="786981567" sldId="1800"/>
        </pc:sldMkLst>
        <pc:spChg chg="mod">
          <ac:chgData name="澤村 僚(SAWAMURA Ryo)" userId="4cfe6057-f08c-4400-b030-3b1cc012e179" providerId="ADAL" clId="{090D3D48-C4A9-4517-93AA-0E2D39FAAE00}" dt="2025-01-17T06:22:07.851" v="7" actId="14100"/>
          <ac:spMkLst>
            <pc:docMk/>
            <pc:sldMk cId="786981567" sldId="1800"/>
            <ac:spMk id="2" creationId="{5F2D8408-1CA6-F273-B2C3-DAE07E0C2F44}"/>
          </ac:spMkLst>
        </pc:spChg>
      </pc:sldChg>
    </pc:docChg>
  </pc:docChgLst>
  <pc:docChgLst>
    <pc:chgData name="佐々木 琢磨(SASAKI Takuma)" userId="6d4c5d6b-d31e-4202-b663-3f2819138080" providerId="ADAL" clId="{F942436F-2B40-4AE2-A117-971FDF502CE1}"/>
    <pc:docChg chg="modSld">
      <pc:chgData name="佐々木 琢磨(SASAKI Takuma)" userId="6d4c5d6b-d31e-4202-b663-3f2819138080" providerId="ADAL" clId="{F942436F-2B40-4AE2-A117-971FDF502CE1}" dt="2024-02-21T01:50:54.962" v="9" actId="20577"/>
      <pc:docMkLst>
        <pc:docMk/>
      </pc:docMkLst>
      <pc:sldChg chg="modSp mod">
        <pc:chgData name="佐々木 琢磨(SASAKI Takuma)" userId="6d4c5d6b-d31e-4202-b663-3f2819138080" providerId="ADAL" clId="{F942436F-2B40-4AE2-A117-971FDF502CE1}" dt="2024-02-21T01:50:54.962" v="9" actId="20577"/>
        <pc:sldMkLst>
          <pc:docMk/>
          <pc:sldMk cId="1003148262" sldId="1799"/>
        </pc:sldMkLst>
        <pc:spChg chg="mod">
          <ac:chgData name="佐々木 琢磨(SASAKI Takuma)" userId="6d4c5d6b-d31e-4202-b663-3f2819138080" providerId="ADAL" clId="{F942436F-2B40-4AE2-A117-971FDF502CE1}" dt="2024-02-21T01:50:54.962" v="9" actId="20577"/>
          <ac:spMkLst>
            <pc:docMk/>
            <pc:sldMk cId="1003148262" sldId="1799"/>
            <ac:spMk id="5" creationId="{81D1DB79-8583-A99E-540E-8CB4E3888F88}"/>
          </ac:spMkLst>
        </pc:spChg>
      </pc:sldChg>
    </pc:docChg>
  </pc:docChgLst>
  <pc:docChgLst>
    <pc:chgData name="牧野 充希(MAKINO Atsuki)" userId="e1bb11f1-fc18-4a8c-a6ff-e197300cb8d1" providerId="ADAL" clId="{62639E53-6170-4F0D-B81B-318B9AA7474F}"/>
    <pc:docChg chg="undo custSel modSld">
      <pc:chgData name="牧野 充希(MAKINO Atsuki)" userId="e1bb11f1-fc18-4a8c-a6ff-e197300cb8d1" providerId="ADAL" clId="{62639E53-6170-4F0D-B81B-318B9AA7474F}" dt="2025-04-18T12:36:49.367" v="151" actId="14100"/>
      <pc:docMkLst>
        <pc:docMk/>
      </pc:docMkLst>
      <pc:sldChg chg="addSp delSp modSp mod">
        <pc:chgData name="牧野 充希(MAKINO Atsuki)" userId="e1bb11f1-fc18-4a8c-a6ff-e197300cb8d1" providerId="ADAL" clId="{62639E53-6170-4F0D-B81B-318B9AA7474F}" dt="2025-04-18T12:36:49.367" v="151" actId="14100"/>
        <pc:sldMkLst>
          <pc:docMk/>
          <pc:sldMk cId="786981567" sldId="1800"/>
        </pc:sldMkLst>
        <pc:spChg chg="mod">
          <ac:chgData name="牧野 充希(MAKINO Atsuki)" userId="e1bb11f1-fc18-4a8c-a6ff-e197300cb8d1" providerId="ADAL" clId="{62639E53-6170-4F0D-B81B-318B9AA7474F}" dt="2025-04-18T12:36:49.367" v="151" actId="14100"/>
          <ac:spMkLst>
            <pc:docMk/>
            <pc:sldMk cId="786981567" sldId="1800"/>
            <ac:spMk id="2" creationId="{5F2D8408-1CA6-F273-B2C3-DAE07E0C2F44}"/>
          </ac:spMkLst>
        </pc:spChg>
        <pc:spChg chg="add del">
          <ac:chgData name="牧野 充希(MAKINO Atsuki)" userId="e1bb11f1-fc18-4a8c-a6ff-e197300cb8d1" providerId="ADAL" clId="{62639E53-6170-4F0D-B81B-318B9AA7474F}" dt="2025-04-18T12:36:40.159" v="141" actId="478"/>
          <ac:spMkLst>
            <pc:docMk/>
            <pc:sldMk cId="786981567" sldId="1800"/>
            <ac:spMk id="3" creationId="{13CF5F74-B0CC-0804-84B5-AA312627120F}"/>
          </ac:spMkLst>
        </pc:spChg>
        <pc:spChg chg="mod">
          <ac:chgData name="牧野 充希(MAKINO Atsuki)" userId="e1bb11f1-fc18-4a8c-a6ff-e197300cb8d1" providerId="ADAL" clId="{62639E53-6170-4F0D-B81B-318B9AA7474F}" dt="2025-04-18T12:36:39.892" v="139" actId="20577"/>
          <ac:spMkLst>
            <pc:docMk/>
            <pc:sldMk cId="786981567" sldId="1800"/>
            <ac:spMk id="5" creationId="{81D1DB79-8583-A99E-540E-8CB4E3888F88}"/>
          </ac:spMkLst>
        </pc:spChg>
      </pc:sldChg>
    </pc:docChg>
  </pc:docChgLst>
  <pc:docChgLst>
    <pc:chgData name="西村 笙平(NISHIMURA Shohei)" userId="d08d2c33-9814-43fe-9d7b-ea3e5d006c86" providerId="ADAL" clId="{AABF1FB4-B69B-44D7-A2FB-F857DDDC3A61}"/>
    <pc:docChg chg="undo custSel addSld delSld modSld modSection">
      <pc:chgData name="西村 笙平(NISHIMURA Shohei)" userId="d08d2c33-9814-43fe-9d7b-ea3e5d006c86" providerId="ADAL" clId="{AABF1FB4-B69B-44D7-A2FB-F857DDDC3A61}" dt="2025-04-15T05:32:32.402" v="884" actId="478"/>
      <pc:docMkLst>
        <pc:docMk/>
      </pc:docMkLst>
      <pc:sldChg chg="modSp">
        <pc:chgData name="西村 笙平(NISHIMURA Shohei)" userId="d08d2c33-9814-43fe-9d7b-ea3e5d006c86" providerId="ADAL" clId="{AABF1FB4-B69B-44D7-A2FB-F857DDDC3A61}" dt="2025-04-10T04:39:45.569" v="869"/>
        <pc:sldMkLst>
          <pc:docMk/>
          <pc:sldMk cId="1927059807" sldId="1764"/>
        </pc:sldMkLst>
        <pc:spChg chg="mod">
          <ac:chgData name="西村 笙平(NISHIMURA Shohei)" userId="d08d2c33-9814-43fe-9d7b-ea3e5d006c86" providerId="ADAL" clId="{AABF1FB4-B69B-44D7-A2FB-F857DDDC3A61}" dt="2025-04-10T04:39:45.569" v="869"/>
          <ac:spMkLst>
            <pc:docMk/>
            <pc:sldMk cId="1927059807" sldId="1764"/>
            <ac:spMk id="18" creationId="{045734C6-2283-9884-2A64-78EFE34E5FB9}"/>
          </ac:spMkLst>
        </pc:spChg>
      </pc:sldChg>
      <pc:sldChg chg="modSp">
        <pc:chgData name="西村 笙平(NISHIMURA Shohei)" userId="d08d2c33-9814-43fe-9d7b-ea3e5d006c86" providerId="ADAL" clId="{AABF1FB4-B69B-44D7-A2FB-F857DDDC3A61}" dt="2025-04-10T04:39:45.569" v="869"/>
        <pc:sldMkLst>
          <pc:docMk/>
          <pc:sldMk cId="786981567" sldId="1800"/>
        </pc:sldMkLst>
        <pc:spChg chg="mod">
          <ac:chgData name="西村 笙平(NISHIMURA Shohei)" userId="d08d2c33-9814-43fe-9d7b-ea3e5d006c86" providerId="ADAL" clId="{AABF1FB4-B69B-44D7-A2FB-F857DDDC3A61}" dt="2025-04-10T04:39:45.569" v="869"/>
          <ac:spMkLst>
            <pc:docMk/>
            <pc:sldMk cId="786981567" sldId="1800"/>
            <ac:spMk id="5" creationId="{81D1DB79-8583-A99E-540E-8CB4E3888F88}"/>
          </ac:spMkLst>
        </pc:spChg>
      </pc:sldChg>
      <pc:sldChg chg="modSp mod">
        <pc:chgData name="西村 笙平(NISHIMURA Shohei)" userId="d08d2c33-9814-43fe-9d7b-ea3e5d006c86" providerId="ADAL" clId="{AABF1FB4-B69B-44D7-A2FB-F857DDDC3A61}" dt="2025-04-15T05:19:29.948" v="883" actId="20577"/>
        <pc:sldMkLst>
          <pc:docMk/>
          <pc:sldMk cId="1731062681" sldId="1801"/>
        </pc:sldMkLst>
        <pc:graphicFrameChg chg="mod modGraphic">
          <ac:chgData name="西村 笙平(NISHIMURA Shohei)" userId="d08d2c33-9814-43fe-9d7b-ea3e5d006c86" providerId="ADAL" clId="{AABF1FB4-B69B-44D7-A2FB-F857DDDC3A61}" dt="2025-04-15T05:19:29.948" v="883" actId="20577"/>
          <ac:graphicFrameMkLst>
            <pc:docMk/>
            <pc:sldMk cId="1731062681" sldId="1801"/>
            <ac:graphicFrameMk id="8" creationId="{37C17ED4-31B5-BE1E-4D38-25AA300C4F1B}"/>
          </ac:graphicFrameMkLst>
        </pc:graphicFrameChg>
      </pc:sldChg>
      <pc:sldChg chg="modSp add del mod">
        <pc:chgData name="西村 笙平(NISHIMURA Shohei)" userId="d08d2c33-9814-43fe-9d7b-ea3e5d006c86" providerId="ADAL" clId="{AABF1FB4-B69B-44D7-A2FB-F857DDDC3A61}" dt="2025-04-15T05:18:17.306" v="881" actId="47"/>
        <pc:sldMkLst>
          <pc:docMk/>
          <pc:sldMk cId="2174853723" sldId="1802"/>
        </pc:sldMkLst>
        <pc:spChg chg="mod">
          <ac:chgData name="西村 笙平(NISHIMURA Shohei)" userId="d08d2c33-9814-43fe-9d7b-ea3e5d006c86" providerId="ADAL" clId="{AABF1FB4-B69B-44D7-A2FB-F857DDDC3A61}" dt="2025-04-10T04:39:45.569" v="869"/>
          <ac:spMkLst>
            <pc:docMk/>
            <pc:sldMk cId="2174853723" sldId="1802"/>
            <ac:spMk id="21" creationId="{1CE48F07-2263-E2AB-D2E2-821FF0157F73}"/>
          </ac:spMkLst>
        </pc:spChg>
        <pc:graphicFrameChg chg="mod modGraphic">
          <ac:chgData name="西村 笙平(NISHIMURA Shohei)" userId="d08d2c33-9814-43fe-9d7b-ea3e5d006c86" providerId="ADAL" clId="{AABF1FB4-B69B-44D7-A2FB-F857DDDC3A61}" dt="2025-04-10T04:39:45.569" v="869"/>
          <ac:graphicFrameMkLst>
            <pc:docMk/>
            <pc:sldMk cId="2174853723" sldId="1802"/>
            <ac:graphicFrameMk id="16" creationId="{4328BA06-C622-B011-947E-DCBE5C9ECD51}"/>
          </ac:graphicFrameMkLst>
        </pc:graphicFrameChg>
      </pc:sldChg>
      <pc:sldChg chg="delSp modSp add del mod">
        <pc:chgData name="西村 笙平(NISHIMURA Shohei)" userId="d08d2c33-9814-43fe-9d7b-ea3e5d006c86" providerId="ADAL" clId="{AABF1FB4-B69B-44D7-A2FB-F857DDDC3A61}" dt="2025-04-15T05:32:32.402" v="884" actId="478"/>
        <pc:sldMkLst>
          <pc:docMk/>
          <pc:sldMk cId="4155459258" sldId="1803"/>
        </pc:sldMkLst>
        <pc:spChg chg="del">
          <ac:chgData name="西村 笙平(NISHIMURA Shohei)" userId="d08d2c33-9814-43fe-9d7b-ea3e5d006c86" providerId="ADAL" clId="{AABF1FB4-B69B-44D7-A2FB-F857DDDC3A61}" dt="2025-04-15T05:32:32.402" v="884" actId="478"/>
          <ac:spMkLst>
            <pc:docMk/>
            <pc:sldMk cId="4155459258" sldId="1803"/>
            <ac:spMk id="3" creationId="{992659FA-9BCC-7BE8-66D6-564C9B321D15}"/>
          </ac:spMkLst>
        </pc:spChg>
        <pc:spChg chg="mod">
          <ac:chgData name="西村 笙平(NISHIMURA Shohei)" userId="d08d2c33-9814-43fe-9d7b-ea3e5d006c86" providerId="ADAL" clId="{AABF1FB4-B69B-44D7-A2FB-F857DDDC3A61}" dt="2025-04-10T04:39:45.569" v="869"/>
          <ac:spMkLst>
            <pc:docMk/>
            <pc:sldMk cId="4155459258" sldId="1803"/>
            <ac:spMk id="8" creationId="{D7FDF8F7-1165-88FF-2A7D-D571C1D4BFAE}"/>
          </ac:spMkLst>
        </pc:spChg>
        <pc:spChg chg="mod">
          <ac:chgData name="西村 笙平(NISHIMURA Shohei)" userId="d08d2c33-9814-43fe-9d7b-ea3e5d006c86" providerId="ADAL" clId="{AABF1FB4-B69B-44D7-A2FB-F857DDDC3A61}" dt="2025-04-10T04:29:24.449" v="868" actId="1035"/>
          <ac:spMkLst>
            <pc:docMk/>
            <pc:sldMk cId="4155459258" sldId="1803"/>
            <ac:spMk id="12" creationId="{9C579815-7452-6922-211C-0C151841D94C}"/>
          </ac:spMkLst>
        </pc:spChg>
        <pc:picChg chg="mod">
          <ac:chgData name="西村 笙平(NISHIMURA Shohei)" userId="d08d2c33-9814-43fe-9d7b-ea3e5d006c86" providerId="ADAL" clId="{AABF1FB4-B69B-44D7-A2FB-F857DDDC3A61}" dt="2025-04-10T04:29:24.449" v="868" actId="1035"/>
          <ac:picMkLst>
            <pc:docMk/>
            <pc:sldMk cId="4155459258" sldId="1803"/>
            <ac:picMk id="10" creationId="{5DDFAABF-5844-7CF2-427C-9DEFCE9C4A31}"/>
          </ac:picMkLst>
        </pc:picChg>
      </pc:sldChg>
      <pc:sldChg chg="modSp add del mod">
        <pc:chgData name="西村 笙平(NISHIMURA Shohei)" userId="d08d2c33-9814-43fe-9d7b-ea3e5d006c86" providerId="ADAL" clId="{AABF1FB4-B69B-44D7-A2FB-F857DDDC3A61}" dt="2025-04-15T04:54:26.034" v="878" actId="47"/>
        <pc:sldMkLst>
          <pc:docMk/>
          <pc:sldMk cId="3494048592" sldId="1805"/>
        </pc:sldMkLst>
        <pc:graphicFrameChg chg="mod modGraphic">
          <ac:chgData name="西村 笙平(NISHIMURA Shohei)" userId="d08d2c33-9814-43fe-9d7b-ea3e5d006c86" providerId="ADAL" clId="{AABF1FB4-B69B-44D7-A2FB-F857DDDC3A61}" dt="2025-04-10T04:40:20.290" v="874" actId="20577"/>
          <ac:graphicFrameMkLst>
            <pc:docMk/>
            <pc:sldMk cId="3494048592" sldId="1805"/>
            <ac:graphicFrameMk id="8" creationId="{37C17ED4-31B5-BE1E-4D38-25AA300C4F1B}"/>
          </ac:graphicFrameMkLst>
        </pc:graphicFrameChg>
      </pc:sldChg>
      <pc:sldChg chg="modSp">
        <pc:chgData name="西村 笙平(NISHIMURA Shohei)" userId="d08d2c33-9814-43fe-9d7b-ea3e5d006c86" providerId="ADAL" clId="{AABF1FB4-B69B-44D7-A2FB-F857DDDC3A61}" dt="2025-04-10T04:39:45.569" v="869"/>
        <pc:sldMkLst>
          <pc:docMk/>
          <pc:sldMk cId="1539400230" sldId="1806"/>
        </pc:sldMkLst>
        <pc:spChg chg="mod">
          <ac:chgData name="西村 笙平(NISHIMURA Shohei)" userId="d08d2c33-9814-43fe-9d7b-ea3e5d006c86" providerId="ADAL" clId="{AABF1FB4-B69B-44D7-A2FB-F857DDDC3A61}" dt="2025-04-10T04:39:45.569" v="869"/>
          <ac:spMkLst>
            <pc:docMk/>
            <pc:sldMk cId="1539400230" sldId="1806"/>
            <ac:spMk id="21" creationId="{1CE48F07-2263-E2AB-D2E2-821FF0157F73}"/>
          </ac:spMkLst>
        </pc:spChg>
        <pc:graphicFrameChg chg="mod">
          <ac:chgData name="西村 笙平(NISHIMURA Shohei)" userId="d08d2c33-9814-43fe-9d7b-ea3e5d006c86" providerId="ADAL" clId="{AABF1FB4-B69B-44D7-A2FB-F857DDDC3A61}" dt="2025-04-10T04:39:45.569" v="869"/>
          <ac:graphicFrameMkLst>
            <pc:docMk/>
            <pc:sldMk cId="1539400230" sldId="1806"/>
            <ac:graphicFrameMk id="8" creationId="{37C17ED4-31B5-BE1E-4D38-25AA300C4F1B}"/>
          </ac:graphicFrameMkLst>
        </pc:graphicFrameChg>
      </pc:sldChg>
      <pc:sldChg chg="modSp">
        <pc:chgData name="西村 笙平(NISHIMURA Shohei)" userId="d08d2c33-9814-43fe-9d7b-ea3e5d006c86" providerId="ADAL" clId="{AABF1FB4-B69B-44D7-A2FB-F857DDDC3A61}" dt="2025-04-10T04:39:45.569" v="869"/>
        <pc:sldMkLst>
          <pc:docMk/>
          <pc:sldMk cId="3361803510" sldId="1807"/>
        </pc:sldMkLst>
        <pc:spChg chg="mod">
          <ac:chgData name="西村 笙平(NISHIMURA Shohei)" userId="d08d2c33-9814-43fe-9d7b-ea3e5d006c86" providerId="ADAL" clId="{AABF1FB4-B69B-44D7-A2FB-F857DDDC3A61}" dt="2025-04-10T04:39:45.569" v="869"/>
          <ac:spMkLst>
            <pc:docMk/>
            <pc:sldMk cId="3361803510" sldId="1807"/>
            <ac:spMk id="8" creationId="{D7FDF8F7-1165-88FF-2A7D-D571C1D4BFAE}"/>
          </ac:spMkLst>
        </pc:spChg>
      </pc:sldChg>
      <pc:sldChg chg="modSp">
        <pc:chgData name="西村 笙平(NISHIMURA Shohei)" userId="d08d2c33-9814-43fe-9d7b-ea3e5d006c86" providerId="ADAL" clId="{AABF1FB4-B69B-44D7-A2FB-F857DDDC3A61}" dt="2025-04-10T04:39:45.569" v="869"/>
        <pc:sldMkLst>
          <pc:docMk/>
          <pc:sldMk cId="2260495983" sldId="1808"/>
        </pc:sldMkLst>
        <pc:graphicFrameChg chg="mod">
          <ac:chgData name="西村 笙平(NISHIMURA Shohei)" userId="d08d2c33-9814-43fe-9d7b-ea3e5d006c86" providerId="ADAL" clId="{AABF1FB4-B69B-44D7-A2FB-F857DDDC3A61}" dt="2025-04-10T04:39:45.569" v="869"/>
          <ac:graphicFrameMkLst>
            <pc:docMk/>
            <pc:sldMk cId="2260495983" sldId="1808"/>
            <ac:graphicFrameMk id="2" creationId="{AC417C49-8970-3FBF-DACA-7F241776FB0E}"/>
          </ac:graphicFrameMkLst>
        </pc:graphicFrameChg>
      </pc:sldChg>
      <pc:sldChg chg="modSp">
        <pc:chgData name="西村 笙平(NISHIMURA Shohei)" userId="d08d2c33-9814-43fe-9d7b-ea3e5d006c86" providerId="ADAL" clId="{AABF1FB4-B69B-44D7-A2FB-F857DDDC3A61}" dt="2025-04-10T04:39:45.569" v="869"/>
        <pc:sldMkLst>
          <pc:docMk/>
          <pc:sldMk cId="2538732313" sldId="1809"/>
        </pc:sldMkLst>
        <pc:spChg chg="mod">
          <ac:chgData name="西村 笙平(NISHIMURA Shohei)" userId="d08d2c33-9814-43fe-9d7b-ea3e5d006c86" providerId="ADAL" clId="{AABF1FB4-B69B-44D7-A2FB-F857DDDC3A61}" dt="2025-04-10T04:39:45.569" v="869"/>
          <ac:spMkLst>
            <pc:docMk/>
            <pc:sldMk cId="2538732313" sldId="1809"/>
            <ac:spMk id="8" creationId="{D7FDF8F7-1165-88FF-2A7D-D571C1D4BFAE}"/>
          </ac:spMkLst>
        </pc:spChg>
      </pc:sldChg>
    </pc:docChg>
  </pc:docChgLst>
  <pc:docChgLst>
    <pc:chgData name="青山 大介(AOYAMA Daisuke)" userId="62e5c414-f8d4-431e-801f-75ea3be37d37" providerId="ADAL" clId="{9E185482-EDA2-424D-97B1-CFF725EDFC3E}"/>
    <pc:docChg chg="undo custSel modSld">
      <pc:chgData name="青山 大介(AOYAMA Daisuke)" userId="62e5c414-f8d4-431e-801f-75ea3be37d37" providerId="ADAL" clId="{9E185482-EDA2-424D-97B1-CFF725EDFC3E}" dt="2024-12-25T04:54:50.699" v="553" actId="1076"/>
      <pc:docMkLst>
        <pc:docMk/>
      </pc:docMkLst>
      <pc:sldChg chg="modSp mod">
        <pc:chgData name="青山 大介(AOYAMA Daisuke)" userId="62e5c414-f8d4-431e-801f-75ea3be37d37" providerId="ADAL" clId="{9E185482-EDA2-424D-97B1-CFF725EDFC3E}" dt="2024-12-18T03:16:05.484" v="105" actId="20577"/>
        <pc:sldMkLst>
          <pc:docMk/>
          <pc:sldMk cId="786981567" sldId="1800"/>
        </pc:sldMkLst>
        <pc:spChg chg="mod">
          <ac:chgData name="青山 大介(AOYAMA Daisuke)" userId="62e5c414-f8d4-431e-801f-75ea3be37d37" providerId="ADAL" clId="{9E185482-EDA2-424D-97B1-CFF725EDFC3E}" dt="2024-12-18T03:16:05.484" v="105" actId="20577"/>
          <ac:spMkLst>
            <pc:docMk/>
            <pc:sldMk cId="786981567" sldId="1800"/>
            <ac:spMk id="5" creationId="{81D1DB79-8583-A99E-540E-8CB4E3888F88}"/>
          </ac:spMkLst>
        </pc:spChg>
      </pc:sldChg>
      <pc:sldChg chg="modSp mod">
        <pc:chgData name="青山 大介(AOYAMA Daisuke)" userId="62e5c414-f8d4-431e-801f-75ea3be37d37" providerId="ADAL" clId="{9E185482-EDA2-424D-97B1-CFF725EDFC3E}" dt="2024-12-18T03:38:47.960" v="267" actId="20577"/>
        <pc:sldMkLst>
          <pc:docMk/>
          <pc:sldMk cId="1731062681" sldId="1801"/>
        </pc:sldMkLst>
        <pc:graphicFrameChg chg="mod modGraphic">
          <ac:chgData name="青山 大介(AOYAMA Daisuke)" userId="62e5c414-f8d4-431e-801f-75ea3be37d37" providerId="ADAL" clId="{9E185482-EDA2-424D-97B1-CFF725EDFC3E}" dt="2024-12-18T03:38:47.960" v="267" actId="20577"/>
          <ac:graphicFrameMkLst>
            <pc:docMk/>
            <pc:sldMk cId="1731062681" sldId="1801"/>
            <ac:graphicFrameMk id="8" creationId="{37C17ED4-31B5-BE1E-4D38-25AA300C4F1B}"/>
          </ac:graphicFrameMkLst>
        </pc:graphicFrameChg>
      </pc:sldChg>
      <pc:sldChg chg="addSp delSp modSp mod">
        <pc:chgData name="青山 大介(AOYAMA Daisuke)" userId="62e5c414-f8d4-431e-801f-75ea3be37d37" providerId="ADAL" clId="{9E185482-EDA2-424D-97B1-CFF725EDFC3E}" dt="2024-12-25T04:54:50.699" v="553" actId="1076"/>
        <pc:sldMkLst>
          <pc:docMk/>
          <pc:sldMk cId="2174853723" sldId="1802"/>
        </pc:sldMkLst>
        <pc:spChg chg="del">
          <ac:chgData name="青山 大介(AOYAMA Daisuke)" userId="62e5c414-f8d4-431e-801f-75ea3be37d37" providerId="ADAL" clId="{9E185482-EDA2-424D-97B1-CFF725EDFC3E}" dt="2024-12-18T03:14:41.471" v="87" actId="478"/>
          <ac:spMkLst>
            <pc:docMk/>
            <pc:sldMk cId="2174853723" sldId="1802"/>
            <ac:spMk id="10" creationId="{35543A15-5B1D-8CB3-2CC6-E1EA7F2D4B43}"/>
          </ac:spMkLst>
        </pc:spChg>
        <pc:spChg chg="add mod">
          <ac:chgData name="青山 大介(AOYAMA Daisuke)" userId="62e5c414-f8d4-431e-801f-75ea3be37d37" providerId="ADAL" clId="{9E185482-EDA2-424D-97B1-CFF725EDFC3E}" dt="2024-12-25T04:54:50.699" v="553" actId="1076"/>
          <ac:spMkLst>
            <pc:docMk/>
            <pc:sldMk cId="2174853723" sldId="1802"/>
            <ac:spMk id="10" creationId="{AE83D439-A02B-2203-E29F-63C55A204C31}"/>
          </ac:spMkLst>
        </pc:spChg>
        <pc:spChg chg="mod">
          <ac:chgData name="青山 大介(AOYAMA Daisuke)" userId="62e5c414-f8d4-431e-801f-75ea3be37d37" providerId="ADAL" clId="{9E185482-EDA2-424D-97B1-CFF725EDFC3E}" dt="2024-12-18T03:44:03.321" v="520" actId="1076"/>
          <ac:spMkLst>
            <pc:docMk/>
            <pc:sldMk cId="2174853723" sldId="1802"/>
            <ac:spMk id="14" creationId="{335D6C43-1401-4A58-26FF-C604454F13FF}"/>
          </ac:spMkLst>
        </pc:spChg>
        <pc:spChg chg="mod">
          <ac:chgData name="青山 大介(AOYAMA Daisuke)" userId="62e5c414-f8d4-431e-801f-75ea3be37d37" providerId="ADAL" clId="{9E185482-EDA2-424D-97B1-CFF725EDFC3E}" dt="2024-12-18T03:43:57.380" v="519" actId="1076"/>
          <ac:spMkLst>
            <pc:docMk/>
            <pc:sldMk cId="2174853723" sldId="1802"/>
            <ac:spMk id="15" creationId="{AB215C18-256D-7CEE-E7C8-D402A51CD974}"/>
          </ac:spMkLst>
        </pc:spChg>
        <pc:spChg chg="mod">
          <ac:chgData name="青山 大介(AOYAMA Daisuke)" userId="62e5c414-f8d4-431e-801f-75ea3be37d37" providerId="ADAL" clId="{9E185482-EDA2-424D-97B1-CFF725EDFC3E}" dt="2024-12-18T03:41:57.775" v="439" actId="179"/>
          <ac:spMkLst>
            <pc:docMk/>
            <pc:sldMk cId="2174853723" sldId="1802"/>
            <ac:spMk id="21" creationId="{1CE48F07-2263-E2AB-D2E2-821FF0157F73}"/>
          </ac:spMkLst>
        </pc:spChg>
        <pc:spChg chg="mod">
          <ac:chgData name="青山 大介(AOYAMA Daisuke)" userId="62e5c414-f8d4-431e-801f-75ea3be37d37" providerId="ADAL" clId="{9E185482-EDA2-424D-97B1-CFF725EDFC3E}" dt="2024-12-25T04:47:49.935" v="526" actId="20577"/>
          <ac:spMkLst>
            <pc:docMk/>
            <pc:sldMk cId="2174853723" sldId="1802"/>
            <ac:spMk id="25" creationId="{6E42A63F-2890-CD55-BF86-10D64ABE91F0}"/>
          </ac:spMkLst>
        </pc:spChg>
        <pc:graphicFrameChg chg="del modGraphic">
          <ac:chgData name="青山 大介(AOYAMA Daisuke)" userId="62e5c414-f8d4-431e-801f-75ea3be37d37" providerId="ADAL" clId="{9E185482-EDA2-424D-97B1-CFF725EDFC3E}" dt="2024-12-18T03:39:26.260" v="270" actId="478"/>
          <ac:graphicFrameMkLst>
            <pc:docMk/>
            <pc:sldMk cId="2174853723" sldId="1802"/>
            <ac:graphicFrameMk id="8" creationId="{37C17ED4-31B5-BE1E-4D38-25AA300C4F1B}"/>
          </ac:graphicFrameMkLst>
        </pc:graphicFrameChg>
        <pc:graphicFrameChg chg="add mod ord">
          <ac:chgData name="青山 大介(AOYAMA Daisuke)" userId="62e5c414-f8d4-431e-801f-75ea3be37d37" providerId="ADAL" clId="{9E185482-EDA2-424D-97B1-CFF725EDFC3E}" dt="2024-12-18T03:39:38.042" v="272" actId="167"/>
          <ac:graphicFrameMkLst>
            <pc:docMk/>
            <pc:sldMk cId="2174853723" sldId="1802"/>
            <ac:graphicFrameMk id="16" creationId="{4328BA06-C622-B011-947E-DCBE5C9ECD51}"/>
          </ac:graphicFrameMkLst>
        </pc:graphicFrameChg>
        <pc:graphicFrameChg chg="del">
          <ac:chgData name="青山 大介(AOYAMA Daisuke)" userId="62e5c414-f8d4-431e-801f-75ea3be37d37" providerId="ADAL" clId="{9E185482-EDA2-424D-97B1-CFF725EDFC3E}" dt="2024-12-25T04:54:43.940" v="550" actId="478"/>
          <ac:graphicFrameMkLst>
            <pc:docMk/>
            <pc:sldMk cId="2174853723" sldId="1802"/>
            <ac:graphicFrameMk id="27" creationId="{5854502F-3CF4-C0E0-573D-8CEB2F7A9B1F}"/>
          </ac:graphicFrameMkLst>
        </pc:graphicFrameChg>
        <pc:picChg chg="add mod">
          <ac:chgData name="青山 大介(AOYAMA Daisuke)" userId="62e5c414-f8d4-431e-801f-75ea3be37d37" providerId="ADAL" clId="{9E185482-EDA2-424D-97B1-CFF725EDFC3E}" dt="2024-12-25T04:54:50.699" v="553" actId="1076"/>
          <ac:picMkLst>
            <pc:docMk/>
            <pc:sldMk cId="2174853723" sldId="1802"/>
            <ac:picMk id="8" creationId="{00D4F10C-B18B-7776-588A-4A375C0A50E6}"/>
          </ac:picMkLst>
        </pc:picChg>
      </pc:sldChg>
      <pc:sldChg chg="addSp delSp modSp mod">
        <pc:chgData name="青山 大介(AOYAMA Daisuke)" userId="62e5c414-f8d4-431e-801f-75ea3be37d37" providerId="ADAL" clId="{9E185482-EDA2-424D-97B1-CFF725EDFC3E}" dt="2024-12-25T04:52:59.456" v="549" actId="14100"/>
        <pc:sldMkLst>
          <pc:docMk/>
          <pc:sldMk cId="4155459258" sldId="1803"/>
        </pc:sldMkLst>
        <pc:spChg chg="mod">
          <ac:chgData name="青山 大介(AOYAMA Daisuke)" userId="62e5c414-f8d4-431e-801f-75ea3be37d37" providerId="ADAL" clId="{9E185482-EDA2-424D-97B1-CFF725EDFC3E}" dt="2024-12-18T03:43:10.921" v="457" actId="20577"/>
          <ac:spMkLst>
            <pc:docMk/>
            <pc:sldMk cId="4155459258" sldId="1803"/>
            <ac:spMk id="8" creationId="{D7FDF8F7-1165-88FF-2A7D-D571C1D4BFAE}"/>
          </ac:spMkLst>
        </pc:spChg>
        <pc:spChg chg="add mod">
          <ac:chgData name="青山 大介(AOYAMA Daisuke)" userId="62e5c414-f8d4-431e-801f-75ea3be37d37" providerId="ADAL" clId="{9E185482-EDA2-424D-97B1-CFF725EDFC3E}" dt="2024-12-25T04:52:59.456" v="549" actId="14100"/>
          <ac:spMkLst>
            <pc:docMk/>
            <pc:sldMk cId="4155459258" sldId="1803"/>
            <ac:spMk id="12" creationId="{9C579815-7452-6922-211C-0C151841D94C}"/>
          </ac:spMkLst>
        </pc:spChg>
        <pc:graphicFrameChg chg="del mod">
          <ac:chgData name="青山 大介(AOYAMA Daisuke)" userId="62e5c414-f8d4-431e-801f-75ea3be37d37" providerId="ADAL" clId="{9E185482-EDA2-424D-97B1-CFF725EDFC3E}" dt="2024-12-25T04:52:19.314" v="542" actId="478"/>
          <ac:graphicFrameMkLst>
            <pc:docMk/>
            <pc:sldMk cId="4155459258" sldId="1803"/>
            <ac:graphicFrameMk id="11" creationId="{ACF7D667-AD41-DFCA-B65A-E63FABE01CF7}"/>
          </ac:graphicFrameMkLst>
        </pc:graphicFrameChg>
        <pc:picChg chg="add del mod">
          <ac:chgData name="青山 大介(AOYAMA Daisuke)" userId="62e5c414-f8d4-431e-801f-75ea3be37d37" providerId="ADAL" clId="{9E185482-EDA2-424D-97B1-CFF725EDFC3E}" dt="2024-12-25T04:51:06.508" v="532" actId="478"/>
          <ac:picMkLst>
            <pc:docMk/>
            <pc:sldMk cId="4155459258" sldId="1803"/>
            <ac:picMk id="5" creationId="{3758D3EE-4D2F-CF41-31EC-D0C1B9EA000D}"/>
          </ac:picMkLst>
        </pc:picChg>
        <pc:picChg chg="add del mod">
          <ac:chgData name="青山 大介(AOYAMA Daisuke)" userId="62e5c414-f8d4-431e-801f-75ea3be37d37" providerId="ADAL" clId="{9E185482-EDA2-424D-97B1-CFF725EDFC3E}" dt="2024-12-25T04:51:30.639" v="537" actId="478"/>
          <ac:picMkLst>
            <pc:docMk/>
            <pc:sldMk cId="4155459258" sldId="1803"/>
            <ac:picMk id="7" creationId="{24CE2BAD-633C-2CDE-0788-C573C02042C6}"/>
          </ac:picMkLst>
        </pc:picChg>
        <pc:picChg chg="add mod">
          <ac:chgData name="青山 大介(AOYAMA Daisuke)" userId="62e5c414-f8d4-431e-801f-75ea3be37d37" providerId="ADAL" clId="{9E185482-EDA2-424D-97B1-CFF725EDFC3E}" dt="2024-12-25T04:52:11.269" v="540" actId="14100"/>
          <ac:picMkLst>
            <pc:docMk/>
            <pc:sldMk cId="4155459258" sldId="1803"/>
            <ac:picMk id="10" creationId="{5DDFAABF-5844-7CF2-427C-9DEFCE9C4A31}"/>
          </ac:picMkLst>
        </pc:picChg>
      </pc:sldChg>
    </pc:docChg>
  </pc:docChgLst>
  <pc:docChgLst>
    <pc:chgData name="牧野 充希(MAKINO Atsuki)" userId="e1bb11f1-fc18-4a8c-a6ff-e197300cb8d1" providerId="ADAL" clId="{D3B104FC-EBC2-4C08-B74D-ED4378F5DADF}"/>
    <pc:docChg chg="undo custSel addSld modSld modSection">
      <pc:chgData name="牧野 充希(MAKINO Atsuki)" userId="e1bb11f1-fc18-4a8c-a6ff-e197300cb8d1" providerId="ADAL" clId="{D3B104FC-EBC2-4C08-B74D-ED4378F5DADF}" dt="2025-04-10T08:59:16.399" v="253" actId="20577"/>
      <pc:docMkLst>
        <pc:docMk/>
      </pc:docMkLst>
      <pc:sldChg chg="modSp mod">
        <pc:chgData name="牧野 充希(MAKINO Atsuki)" userId="e1bb11f1-fc18-4a8c-a6ff-e197300cb8d1" providerId="ADAL" clId="{D3B104FC-EBC2-4C08-B74D-ED4378F5DADF}" dt="2025-04-10T08:58:13.771" v="138" actId="20577"/>
        <pc:sldMkLst>
          <pc:docMk/>
          <pc:sldMk cId="1731062681" sldId="1801"/>
        </pc:sldMkLst>
        <pc:graphicFrameChg chg="mod modGraphic">
          <ac:chgData name="牧野 充希(MAKINO Atsuki)" userId="e1bb11f1-fc18-4a8c-a6ff-e197300cb8d1" providerId="ADAL" clId="{D3B104FC-EBC2-4C08-B74D-ED4378F5DADF}" dt="2025-04-10T08:58:13.771" v="138" actId="20577"/>
          <ac:graphicFrameMkLst>
            <pc:docMk/>
            <pc:sldMk cId="1731062681" sldId="1801"/>
            <ac:graphicFrameMk id="8" creationId="{37C17ED4-31B5-BE1E-4D38-25AA300C4F1B}"/>
          </ac:graphicFrameMkLst>
        </pc:graphicFrameChg>
      </pc:sldChg>
      <pc:sldChg chg="modSp add mod">
        <pc:chgData name="牧野 充希(MAKINO Atsuki)" userId="e1bb11f1-fc18-4a8c-a6ff-e197300cb8d1" providerId="ADAL" clId="{D3B104FC-EBC2-4C08-B74D-ED4378F5DADF}" dt="2025-04-10T08:59:16.399" v="253" actId="20577"/>
        <pc:sldMkLst>
          <pc:docMk/>
          <pc:sldMk cId="239995315" sldId="1810"/>
        </pc:sldMkLst>
        <pc:graphicFrameChg chg="modGraphic">
          <ac:chgData name="牧野 充希(MAKINO Atsuki)" userId="e1bb11f1-fc18-4a8c-a6ff-e197300cb8d1" providerId="ADAL" clId="{D3B104FC-EBC2-4C08-B74D-ED4378F5DADF}" dt="2025-04-10T08:59:16.399" v="253" actId="20577"/>
          <ac:graphicFrameMkLst>
            <pc:docMk/>
            <pc:sldMk cId="239995315" sldId="1810"/>
            <ac:graphicFrameMk id="8" creationId="{37C17ED4-31B5-BE1E-4D38-25AA300C4F1B}"/>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50529" cy="497524"/>
          </a:xfrm>
          <a:prstGeom prst="rect">
            <a:avLst/>
          </a:prstGeom>
        </p:spPr>
        <p:txBody>
          <a:bodyPr vert="horz" lIns="91559" tIns="45779" rIns="91559" bIns="45779"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082" y="0"/>
            <a:ext cx="2950529" cy="497524"/>
          </a:xfrm>
          <a:prstGeom prst="rect">
            <a:avLst/>
          </a:prstGeom>
        </p:spPr>
        <p:txBody>
          <a:bodyPr vert="horz" lIns="91559" tIns="45779" rIns="91559" bIns="45779" rtlCol="0"/>
          <a:lstStyle>
            <a:lvl1pPr algn="r">
              <a:defRPr sz="1200"/>
            </a:lvl1pPr>
          </a:lstStyle>
          <a:p>
            <a:fld id="{17837479-F167-46A9-91DE-D29DC0E07EEF}" type="datetimeFigureOut">
              <a:rPr kumimoji="1" lang="ja-JP" altLang="en-US" smtClean="0"/>
              <a:t>2025/7/10</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559" tIns="45779" rIns="91559" bIns="45779" rtlCol="0" anchor="ctr"/>
          <a:lstStyle/>
          <a:p>
            <a:endParaRPr lang="ja-JP" altLang="en-US"/>
          </a:p>
        </p:txBody>
      </p:sp>
      <p:sp>
        <p:nvSpPr>
          <p:cNvPr id="5" name="ノート プレースホルダー 4"/>
          <p:cNvSpPr>
            <a:spLocks noGrp="1"/>
          </p:cNvSpPr>
          <p:nvPr>
            <p:ph type="body" sz="quarter" idx="3"/>
          </p:nvPr>
        </p:nvSpPr>
        <p:spPr>
          <a:xfrm>
            <a:off x="680403" y="4782900"/>
            <a:ext cx="5446396" cy="3913425"/>
          </a:xfrm>
          <a:prstGeom prst="rect">
            <a:avLst/>
          </a:prstGeom>
        </p:spPr>
        <p:txBody>
          <a:bodyPr vert="horz" lIns="91559" tIns="45779" rIns="91559" bIns="4577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1814"/>
            <a:ext cx="2950529" cy="497524"/>
          </a:xfrm>
          <a:prstGeom prst="rect">
            <a:avLst/>
          </a:prstGeom>
        </p:spPr>
        <p:txBody>
          <a:bodyPr vert="horz" lIns="91559" tIns="45779" rIns="91559" bIns="45779"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082" y="9441814"/>
            <a:ext cx="2950529" cy="497524"/>
          </a:xfrm>
          <a:prstGeom prst="rect">
            <a:avLst/>
          </a:prstGeom>
        </p:spPr>
        <p:txBody>
          <a:bodyPr vert="horz" lIns="91559" tIns="45779" rIns="91559" bIns="45779" rtlCol="0" anchor="b"/>
          <a:lstStyle>
            <a:lvl1pPr algn="r">
              <a:defRPr sz="1200"/>
            </a:lvl1pPr>
          </a:lstStyle>
          <a:p>
            <a:fld id="{5A09B3C7-3239-4625-8436-E6A709F012B8}" type="slidenum">
              <a:rPr kumimoji="1" lang="ja-JP" altLang="en-US" smtClean="0"/>
              <a:t>‹#›</a:t>
            </a:fld>
            <a:endParaRPr kumimoji="1" lang="ja-JP" altLang="en-US"/>
          </a:p>
        </p:txBody>
      </p:sp>
    </p:spTree>
    <p:extLst>
      <p:ext uri="{BB962C8B-B14F-4D97-AF65-F5344CB8AC3E}">
        <p14:creationId xmlns:p14="http://schemas.microsoft.com/office/powerpoint/2010/main" val="76636381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2">
              <a:alpha val="40000"/>
            </a:schemeClr>
          </a:solidFill>
          <a:ln w="9525">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0186376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B560C01-06A1-A163-D5BA-E32CF5899E12}"/>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42E7C34-522B-0110-F057-013D5CBFB299}"/>
              </a:ext>
            </a:extLst>
          </p:cNvPr>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48CB8276-2F02-86AA-4761-DEBD748E7DB8}"/>
              </a:ext>
            </a:extLst>
          </p:cNvPr>
          <p:cNvSpPr>
            <a:spLocks noGrp="1"/>
          </p:cNvSpPr>
          <p:nvPr>
            <p:ph type="dt" sz="half" idx="10"/>
          </p:nvPr>
        </p:nvSpPr>
        <p:spPr/>
        <p:txBody>
          <a:bodyPr/>
          <a:lstStyle/>
          <a:p>
            <a:fld id="{A144AB3D-1057-4AB6-87D1-2B0FE264E624}" type="datetimeFigureOut">
              <a:rPr kumimoji="1" lang="ja-JP" altLang="en-US" smtClean="0"/>
              <a:t>2025/7/10</a:t>
            </a:fld>
            <a:endParaRPr kumimoji="1" lang="ja-JP" altLang="en-US"/>
          </a:p>
        </p:txBody>
      </p:sp>
      <p:sp>
        <p:nvSpPr>
          <p:cNvPr id="5" name="フッター プレースホルダー 4">
            <a:extLst>
              <a:ext uri="{FF2B5EF4-FFF2-40B4-BE49-F238E27FC236}">
                <a16:creationId xmlns:a16="http://schemas.microsoft.com/office/drawing/2014/main" id="{5BDB391A-E4F3-16FE-0DB7-841361CCB54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8F9B42A-EDA7-6410-5551-5CE3C2172192}"/>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8270905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4B08F37-66A6-7609-93B4-C672F569BFEE}"/>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7FA8512-50F2-E102-C554-6D300C5ED0E8}"/>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59C3A24-C601-DD85-C23B-C05FA645EE52}"/>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15ABA329-96A0-CB63-EFE5-0654FC68B15D}"/>
              </a:ext>
            </a:extLst>
          </p:cNvPr>
          <p:cNvSpPr>
            <a:spLocks noGrp="1"/>
          </p:cNvSpPr>
          <p:nvPr>
            <p:ph type="dt" sz="half" idx="10"/>
          </p:nvPr>
        </p:nvSpPr>
        <p:spPr/>
        <p:txBody>
          <a:bodyPr/>
          <a:lstStyle/>
          <a:p>
            <a:fld id="{A144AB3D-1057-4AB6-87D1-2B0FE264E624}" type="datetimeFigureOut">
              <a:rPr kumimoji="1" lang="ja-JP" altLang="en-US" smtClean="0"/>
              <a:t>2025/7/10</a:t>
            </a:fld>
            <a:endParaRPr kumimoji="1" lang="ja-JP" altLang="en-US"/>
          </a:p>
        </p:txBody>
      </p:sp>
      <p:sp>
        <p:nvSpPr>
          <p:cNvPr id="6" name="フッター プレースホルダー 5">
            <a:extLst>
              <a:ext uri="{FF2B5EF4-FFF2-40B4-BE49-F238E27FC236}">
                <a16:creationId xmlns:a16="http://schemas.microsoft.com/office/drawing/2014/main" id="{3D897446-E052-D845-5C19-9E5932917A1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C3DE5295-93B3-6EF7-C4E3-AB9786089D1F}"/>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1596936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B545AC2-4C8F-2861-A9C8-BF01F1365DBE}"/>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57AEEFB-014D-05BB-4AF6-6B668CCEA027}"/>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A30470D-EFB2-CA9B-B124-4B1E65FE5D5A}"/>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82CE0DF-012A-6BD8-CC58-2E0EA9137581}"/>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A3C3C357-0157-23E6-A181-CD77B66DA108}"/>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E2ACD90-711E-2946-DC15-35A0684D260D}"/>
              </a:ext>
            </a:extLst>
          </p:cNvPr>
          <p:cNvSpPr>
            <a:spLocks noGrp="1"/>
          </p:cNvSpPr>
          <p:nvPr>
            <p:ph type="dt" sz="half" idx="10"/>
          </p:nvPr>
        </p:nvSpPr>
        <p:spPr/>
        <p:txBody>
          <a:bodyPr/>
          <a:lstStyle/>
          <a:p>
            <a:fld id="{A144AB3D-1057-4AB6-87D1-2B0FE264E624}" type="datetimeFigureOut">
              <a:rPr kumimoji="1" lang="ja-JP" altLang="en-US" smtClean="0"/>
              <a:t>2025/7/10</a:t>
            </a:fld>
            <a:endParaRPr kumimoji="1" lang="ja-JP" altLang="en-US"/>
          </a:p>
        </p:txBody>
      </p:sp>
      <p:sp>
        <p:nvSpPr>
          <p:cNvPr id="8" name="フッター プレースホルダー 7">
            <a:extLst>
              <a:ext uri="{FF2B5EF4-FFF2-40B4-BE49-F238E27FC236}">
                <a16:creationId xmlns:a16="http://schemas.microsoft.com/office/drawing/2014/main" id="{C7E1B447-53AF-219C-7A27-884C303E22D8}"/>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10C5A81E-5539-11E4-977C-2B67062559FC}"/>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26885100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8746C8-549D-EB75-5EC3-98E3C59C688E}"/>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C4D69DA2-213D-6BD3-DA5F-E7F836752E38}"/>
              </a:ext>
            </a:extLst>
          </p:cNvPr>
          <p:cNvSpPr>
            <a:spLocks noGrp="1"/>
          </p:cNvSpPr>
          <p:nvPr>
            <p:ph type="dt" sz="half" idx="10"/>
          </p:nvPr>
        </p:nvSpPr>
        <p:spPr/>
        <p:txBody>
          <a:bodyPr/>
          <a:lstStyle/>
          <a:p>
            <a:fld id="{A144AB3D-1057-4AB6-87D1-2B0FE264E624}" type="datetimeFigureOut">
              <a:rPr kumimoji="1" lang="ja-JP" altLang="en-US" smtClean="0"/>
              <a:t>2025/7/10</a:t>
            </a:fld>
            <a:endParaRPr kumimoji="1" lang="ja-JP" altLang="en-US"/>
          </a:p>
        </p:txBody>
      </p:sp>
      <p:sp>
        <p:nvSpPr>
          <p:cNvPr id="4" name="フッター プレースホルダー 3">
            <a:extLst>
              <a:ext uri="{FF2B5EF4-FFF2-40B4-BE49-F238E27FC236}">
                <a16:creationId xmlns:a16="http://schemas.microsoft.com/office/drawing/2014/main" id="{E421E2FD-94F6-E6B3-6438-0BC4176935D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C01B44B2-3403-790E-2575-2373BA4B49C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1760046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D0EF4A14-9697-756C-DE1E-23F55F5199F7}"/>
              </a:ext>
            </a:extLst>
          </p:cNvPr>
          <p:cNvSpPr>
            <a:spLocks noGrp="1"/>
          </p:cNvSpPr>
          <p:nvPr>
            <p:ph type="dt" sz="half" idx="10"/>
          </p:nvPr>
        </p:nvSpPr>
        <p:spPr/>
        <p:txBody>
          <a:bodyPr/>
          <a:lstStyle/>
          <a:p>
            <a:fld id="{A144AB3D-1057-4AB6-87D1-2B0FE264E624}" type="datetimeFigureOut">
              <a:rPr kumimoji="1" lang="ja-JP" altLang="en-US" smtClean="0"/>
              <a:t>2025/7/10</a:t>
            </a:fld>
            <a:endParaRPr kumimoji="1" lang="ja-JP" altLang="en-US"/>
          </a:p>
        </p:txBody>
      </p:sp>
      <p:sp>
        <p:nvSpPr>
          <p:cNvPr id="3" name="フッター プレースホルダー 2">
            <a:extLst>
              <a:ext uri="{FF2B5EF4-FFF2-40B4-BE49-F238E27FC236}">
                <a16:creationId xmlns:a16="http://schemas.microsoft.com/office/drawing/2014/main" id="{41887799-4FDD-55FD-05C8-06427FEAF0ED}"/>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4E043EA-6CA2-0360-EB86-AA459F204175}"/>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0792500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583AB58-2E83-6A33-C3ED-21ADA5259AE2}"/>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67324E4-88FE-FCF6-D8A8-A74D1412B5A1}"/>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6957D19-F7C3-002F-93DD-626C828A775A}"/>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96D689F-5BE9-4036-BE9D-E5A303F353C4}"/>
              </a:ext>
            </a:extLst>
          </p:cNvPr>
          <p:cNvSpPr>
            <a:spLocks noGrp="1"/>
          </p:cNvSpPr>
          <p:nvPr>
            <p:ph type="dt" sz="half" idx="10"/>
          </p:nvPr>
        </p:nvSpPr>
        <p:spPr/>
        <p:txBody>
          <a:bodyPr/>
          <a:lstStyle/>
          <a:p>
            <a:fld id="{A144AB3D-1057-4AB6-87D1-2B0FE264E624}" type="datetimeFigureOut">
              <a:rPr kumimoji="1" lang="ja-JP" altLang="en-US" smtClean="0"/>
              <a:t>2025/7/10</a:t>
            </a:fld>
            <a:endParaRPr kumimoji="1" lang="ja-JP" altLang="en-US"/>
          </a:p>
        </p:txBody>
      </p:sp>
      <p:sp>
        <p:nvSpPr>
          <p:cNvPr id="6" name="フッター プレースホルダー 5">
            <a:extLst>
              <a:ext uri="{FF2B5EF4-FFF2-40B4-BE49-F238E27FC236}">
                <a16:creationId xmlns:a16="http://schemas.microsoft.com/office/drawing/2014/main" id="{0AEA9A97-31BB-681B-B611-84B0DC12187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C942E953-695D-0D38-9E79-9E350761F491}"/>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953728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FEACF9D-D1B3-532E-9BDF-C61331A6B426}"/>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8BD5ACE6-9B17-FF3C-20F8-1156B0B629A6}"/>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7FACCC17-C86E-83A3-27CC-80DC220F9EF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53ABD50C-C609-8025-4856-9AA643B33965}"/>
              </a:ext>
            </a:extLst>
          </p:cNvPr>
          <p:cNvSpPr>
            <a:spLocks noGrp="1"/>
          </p:cNvSpPr>
          <p:nvPr>
            <p:ph type="dt" sz="half" idx="10"/>
          </p:nvPr>
        </p:nvSpPr>
        <p:spPr/>
        <p:txBody>
          <a:bodyPr/>
          <a:lstStyle/>
          <a:p>
            <a:fld id="{A144AB3D-1057-4AB6-87D1-2B0FE264E624}" type="datetimeFigureOut">
              <a:rPr kumimoji="1" lang="ja-JP" altLang="en-US" smtClean="0"/>
              <a:t>2025/7/10</a:t>
            </a:fld>
            <a:endParaRPr kumimoji="1" lang="ja-JP" altLang="en-US"/>
          </a:p>
        </p:txBody>
      </p:sp>
      <p:sp>
        <p:nvSpPr>
          <p:cNvPr id="6" name="フッター プレースホルダー 5">
            <a:extLst>
              <a:ext uri="{FF2B5EF4-FFF2-40B4-BE49-F238E27FC236}">
                <a16:creationId xmlns:a16="http://schemas.microsoft.com/office/drawing/2014/main" id="{72855E51-BD1E-489A-3A81-F33D06A43EA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EA793E5-2704-4559-EDA4-08584095AFA1}"/>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729453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610385-3531-8BEB-FA75-B135E9EECAD4}"/>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367CE8E6-977A-9F3A-D91D-2C018B381B71}"/>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7BDE191-EB0C-9956-4675-7B7C938DAA90}"/>
              </a:ext>
            </a:extLst>
          </p:cNvPr>
          <p:cNvSpPr>
            <a:spLocks noGrp="1"/>
          </p:cNvSpPr>
          <p:nvPr>
            <p:ph type="dt" sz="half" idx="10"/>
          </p:nvPr>
        </p:nvSpPr>
        <p:spPr/>
        <p:txBody>
          <a:bodyPr/>
          <a:lstStyle/>
          <a:p>
            <a:fld id="{A144AB3D-1057-4AB6-87D1-2B0FE264E624}" type="datetimeFigureOut">
              <a:rPr kumimoji="1" lang="ja-JP" altLang="en-US" smtClean="0"/>
              <a:t>2025/7/10</a:t>
            </a:fld>
            <a:endParaRPr kumimoji="1" lang="ja-JP" altLang="en-US"/>
          </a:p>
        </p:txBody>
      </p:sp>
      <p:sp>
        <p:nvSpPr>
          <p:cNvPr id="5" name="フッター プレースホルダー 4">
            <a:extLst>
              <a:ext uri="{FF2B5EF4-FFF2-40B4-BE49-F238E27FC236}">
                <a16:creationId xmlns:a16="http://schemas.microsoft.com/office/drawing/2014/main" id="{3B2469FB-AB60-FDD6-2951-D09C3598D192}"/>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19C0293-4FCA-EF66-ACEC-66EF66AE7F9C}"/>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0398233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50FD8AE1-8568-4FCF-3859-B71EC4803358}"/>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2679ED7F-5894-DEB0-35E7-EDF0A5FDBE8B}"/>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BBBEB66-3EF9-8911-3982-D9A96C225450}"/>
              </a:ext>
            </a:extLst>
          </p:cNvPr>
          <p:cNvSpPr>
            <a:spLocks noGrp="1"/>
          </p:cNvSpPr>
          <p:nvPr>
            <p:ph type="dt" sz="half" idx="10"/>
          </p:nvPr>
        </p:nvSpPr>
        <p:spPr/>
        <p:txBody>
          <a:bodyPr/>
          <a:lstStyle/>
          <a:p>
            <a:fld id="{A144AB3D-1057-4AB6-87D1-2B0FE264E624}" type="datetimeFigureOut">
              <a:rPr kumimoji="1" lang="ja-JP" altLang="en-US" smtClean="0"/>
              <a:t>2025/7/10</a:t>
            </a:fld>
            <a:endParaRPr kumimoji="1" lang="ja-JP" altLang="en-US"/>
          </a:p>
        </p:txBody>
      </p:sp>
      <p:sp>
        <p:nvSpPr>
          <p:cNvPr id="5" name="フッター プレースホルダー 4">
            <a:extLst>
              <a:ext uri="{FF2B5EF4-FFF2-40B4-BE49-F238E27FC236}">
                <a16:creationId xmlns:a16="http://schemas.microsoft.com/office/drawing/2014/main" id="{E8285B19-61AD-7DFC-FEC9-E2B76284F6D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40B56F2-A782-F5D3-AE71-4C70FCD49C1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2738346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6">
              <a:lumMod val="40000"/>
              <a:lumOff val="60000"/>
              <a:alpha val="40000"/>
            </a:schemeClr>
          </a:solidFill>
          <a:ln w="9525">
            <a:solidFill>
              <a:schemeClr val="accent6">
                <a:lumMod val="40000"/>
                <a:lumOff val="60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2330848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7000" y="2060576"/>
            <a:ext cx="8892000" cy="4105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Title 3">
            <a:extLst>
              <a:ext uri="{FF2B5EF4-FFF2-40B4-BE49-F238E27FC236}">
                <a16:creationId xmlns:a16="http://schemas.microsoft.com/office/drawing/2014/main" id="{776FB90E-F37C-5341-AEB0-5E882FB00C69}"/>
              </a:ext>
            </a:extLst>
          </p:cNvPr>
          <p:cNvSpPr>
            <a:spLocks noGrp="1"/>
          </p:cNvSpPr>
          <p:nvPr>
            <p:ph type="title" hasCustomPrompt="1"/>
          </p:nvPr>
        </p:nvSpPr>
        <p:spPr>
          <a:xfrm>
            <a:off x="507000" y="404813"/>
            <a:ext cx="8892000" cy="1368425"/>
          </a:xfrm>
        </p:spPr>
        <p:txBody>
          <a:bodyPr/>
          <a:lstStyle>
            <a:lvl1pPr>
              <a:defRPr/>
            </a:lvl1pPr>
          </a:lstStyle>
          <a:p>
            <a:r>
              <a:rPr lang="en-US"/>
              <a:t>[Slide title]</a:t>
            </a:r>
          </a:p>
        </p:txBody>
      </p:sp>
    </p:spTree>
    <p:extLst>
      <p:ext uri="{BB962C8B-B14F-4D97-AF65-F5344CB8AC3E}">
        <p14:creationId xmlns:p14="http://schemas.microsoft.com/office/powerpoint/2010/main" val="2727287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Title 2">
            <a:extLst>
              <a:ext uri="{FF2B5EF4-FFF2-40B4-BE49-F238E27FC236}">
                <a16:creationId xmlns:a16="http://schemas.microsoft.com/office/drawing/2014/main" id="{8CC116CF-C359-0344-A999-AE9F54D6B302}"/>
              </a:ext>
            </a:extLst>
          </p:cNvPr>
          <p:cNvSpPr>
            <a:spLocks noGrp="1"/>
          </p:cNvSpPr>
          <p:nvPr>
            <p:ph type="title" hasCustomPrompt="1"/>
          </p:nvPr>
        </p:nvSpPr>
        <p:spPr/>
        <p:txBody>
          <a:bodyPr/>
          <a:lstStyle>
            <a:lvl1pPr>
              <a:defRPr/>
            </a:lvl1pPr>
          </a:lstStyle>
          <a:p>
            <a:r>
              <a:rPr lang="en-US"/>
              <a:t>[Slide title]</a:t>
            </a:r>
          </a:p>
        </p:txBody>
      </p:sp>
    </p:spTree>
    <p:extLst>
      <p:ext uri="{BB962C8B-B14F-4D97-AF65-F5344CB8AC3E}">
        <p14:creationId xmlns:p14="http://schemas.microsoft.com/office/powerpoint/2010/main" val="42042345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5" name="テキスト プレースホルダー 10">
            <a:extLst>
              <a:ext uri="{FF2B5EF4-FFF2-40B4-BE49-F238E27FC236}">
                <a16:creationId xmlns:a16="http://schemas.microsoft.com/office/drawing/2014/main" id="{3B05E39B-8BE4-42A3-9767-1A31E82336B7}"/>
              </a:ext>
            </a:extLst>
          </p:cNvPr>
          <p:cNvSpPr>
            <a:spLocks noGrp="1"/>
          </p:cNvSpPr>
          <p:nvPr>
            <p:ph type="body" sz="quarter" idx="12"/>
          </p:nvPr>
        </p:nvSpPr>
        <p:spPr>
          <a:xfrm>
            <a:off x="740532" y="2636912"/>
            <a:ext cx="7956884" cy="432046"/>
          </a:xfrm>
        </p:spPr>
        <p:txBody>
          <a:bodyPr/>
          <a:lstStyle>
            <a:lvl1pPr>
              <a:spcAft>
                <a:spcPts val="600"/>
              </a:spcAft>
              <a:defRPr sz="24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pic>
        <p:nvPicPr>
          <p:cNvPr id="8" name="図 7">
            <a:extLst>
              <a:ext uri="{FF2B5EF4-FFF2-40B4-BE49-F238E27FC236}">
                <a16:creationId xmlns:a16="http://schemas.microsoft.com/office/drawing/2014/main" id="{C927317A-4728-4709-9304-87479DCCF035}"/>
              </a:ext>
            </a:extLst>
          </p:cNvPr>
          <p:cNvPicPr>
            <a:picLocks noChangeAspect="1"/>
          </p:cNvPicPr>
          <p:nvPr userDrawn="1"/>
        </p:nvPicPr>
        <p:blipFill>
          <a:blip r:embed="rId2"/>
          <a:stretch>
            <a:fillRect/>
          </a:stretch>
        </p:blipFill>
        <p:spPr>
          <a:xfrm>
            <a:off x="662524" y="3068959"/>
            <a:ext cx="5304589" cy="226992"/>
          </a:xfrm>
          <a:prstGeom prst="rect">
            <a:avLst/>
          </a:prstGeom>
        </p:spPr>
      </p:pic>
    </p:spTree>
    <p:extLst>
      <p:ext uri="{BB962C8B-B14F-4D97-AF65-F5344CB8AC3E}">
        <p14:creationId xmlns:p14="http://schemas.microsoft.com/office/powerpoint/2010/main" val="3528420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689660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1"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36496" y="6593400"/>
            <a:ext cx="180000" cy="169200"/>
          </a:xfrm>
        </p:spPr>
        <p:txBody>
          <a:bodyPr anchor="ctr"/>
          <a:lstStyle>
            <a:lvl1pPr>
              <a:defRPr sz="1050" baseline="0">
                <a:solidFill>
                  <a:schemeClr val="tx1"/>
                </a:solidFill>
                <a:latin typeface="Meiryo UI" panose="020B0604030504040204" pitchFamily="50" charset="-128"/>
                <a:ea typeface="Meiryo UI" panose="020B0604030504040204" pitchFamily="50" charset="-128"/>
                <a:cs typeface="+mn-cs"/>
                <a:sym typeface="+mn-lt"/>
              </a:defRPr>
            </a:lvl1pPr>
          </a:lstStyle>
          <a:p>
            <a:pPr marL="0" marR="0" lvl="0" indent="0" algn="l" defTabSz="457034" rtl="0" eaLnBrk="1" fontAlgn="auto" latinLnBrk="0" hangingPunct="1">
              <a:lnSpc>
                <a:spcPct val="100000"/>
              </a:lnSpc>
              <a:spcBef>
                <a:spcPts val="0"/>
              </a:spcBef>
              <a:spcAft>
                <a:spcPts val="0"/>
              </a:spcAft>
              <a:buClrTx/>
              <a:buSzTx/>
              <a:buFontTx/>
              <a:buNone/>
              <a:tabLst/>
              <a:defRPr/>
            </a:pPr>
            <a:fld id="{543A0986-838B-4D2A-A95C-8CB1738263FE}" type="slidenum">
              <a:rPr kumimoji="0" lang="ja-JP" altLang="en-US" sz="105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sym typeface="+mn-lt"/>
              </a:rPr>
              <a:pPr marL="0" marR="0" lvl="0" indent="0" algn="l" defTabSz="457034" rtl="0" eaLnBrk="1" fontAlgn="auto" latinLnBrk="0" hangingPunct="1">
                <a:lnSpc>
                  <a:spcPct val="100000"/>
                </a:lnSpc>
                <a:spcBef>
                  <a:spcPts val="0"/>
                </a:spcBef>
                <a:spcAft>
                  <a:spcPts val="0"/>
                </a:spcAft>
                <a:buClrTx/>
                <a:buSzTx/>
                <a:buFontTx/>
                <a:buNone/>
                <a:tabLst/>
                <a:defRPr/>
              </a:pPr>
              <a:t>‹#›</a:t>
            </a:fld>
            <a:endPar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mn-lt"/>
            </a:endParaRPr>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404992424"/>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568ACA-D2E4-4482-2BD9-DAB7633D8C3B}"/>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7843FB25-6DB9-5AE9-EBA6-99776168CC59}"/>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413F7680-3B70-9DD4-230A-80D58E0EE3C5}"/>
              </a:ext>
            </a:extLst>
          </p:cNvPr>
          <p:cNvSpPr>
            <a:spLocks noGrp="1"/>
          </p:cNvSpPr>
          <p:nvPr>
            <p:ph type="dt" sz="half" idx="10"/>
          </p:nvPr>
        </p:nvSpPr>
        <p:spPr/>
        <p:txBody>
          <a:bodyPr/>
          <a:lstStyle/>
          <a:p>
            <a:fld id="{A144AB3D-1057-4AB6-87D1-2B0FE264E624}" type="datetimeFigureOut">
              <a:rPr kumimoji="1" lang="ja-JP" altLang="en-US" smtClean="0"/>
              <a:t>2025/7/10</a:t>
            </a:fld>
            <a:endParaRPr kumimoji="1" lang="ja-JP" altLang="en-US"/>
          </a:p>
        </p:txBody>
      </p:sp>
      <p:sp>
        <p:nvSpPr>
          <p:cNvPr id="5" name="フッター プレースホルダー 4">
            <a:extLst>
              <a:ext uri="{FF2B5EF4-FFF2-40B4-BE49-F238E27FC236}">
                <a16:creationId xmlns:a16="http://schemas.microsoft.com/office/drawing/2014/main" id="{76AB1268-44E9-715B-7017-C48D9593C42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D6E6843-8558-B6BE-AA8D-3DCEC0D7020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912432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2AE054-FE86-8B86-CAF4-190540493562}"/>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6B280EA-5C0F-D77A-2D91-FA8F3FC15BF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C566547-7CC3-ADF8-FA2B-F8EA9CEA2B1E}"/>
              </a:ext>
            </a:extLst>
          </p:cNvPr>
          <p:cNvSpPr>
            <a:spLocks noGrp="1"/>
          </p:cNvSpPr>
          <p:nvPr>
            <p:ph type="dt" sz="half" idx="10"/>
          </p:nvPr>
        </p:nvSpPr>
        <p:spPr/>
        <p:txBody>
          <a:bodyPr/>
          <a:lstStyle/>
          <a:p>
            <a:fld id="{A144AB3D-1057-4AB6-87D1-2B0FE264E624}" type="datetimeFigureOut">
              <a:rPr kumimoji="1" lang="ja-JP" altLang="en-US" smtClean="0"/>
              <a:t>2025/7/10</a:t>
            </a:fld>
            <a:endParaRPr kumimoji="1" lang="ja-JP" altLang="en-US"/>
          </a:p>
        </p:txBody>
      </p:sp>
      <p:sp>
        <p:nvSpPr>
          <p:cNvPr id="5" name="フッター プレースホルダー 4">
            <a:extLst>
              <a:ext uri="{FF2B5EF4-FFF2-40B4-BE49-F238E27FC236}">
                <a16:creationId xmlns:a16="http://schemas.microsoft.com/office/drawing/2014/main" id="{7F222A2C-79C8-D182-11D8-2635CA01B08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DF8E54A-E949-FF7E-E2BB-B2197248522A}"/>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23111291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6662" y="404813"/>
            <a:ext cx="8892000" cy="1368425"/>
          </a:xfrm>
          <a:prstGeom prst="rect">
            <a:avLst/>
          </a:prstGeom>
        </p:spPr>
        <p:txBody>
          <a:bodyPr vert="horz" lIns="0" tIns="0" rIns="0" bIns="0" rtlCol="0" anchor="t" anchorCtr="0">
            <a:noAutofit/>
          </a:bodyPr>
          <a:lstStyle/>
          <a:p>
            <a:r>
              <a:rPr lang="en-US"/>
              <a:t>[Slide title]</a:t>
            </a:r>
            <a:endParaRPr lang="en-GB"/>
          </a:p>
        </p:txBody>
      </p:sp>
      <p:sp>
        <p:nvSpPr>
          <p:cNvPr id="3" name="Text Placeholder 2"/>
          <p:cNvSpPr>
            <a:spLocks noGrp="1"/>
          </p:cNvSpPr>
          <p:nvPr>
            <p:ph type="body" idx="1"/>
          </p:nvPr>
        </p:nvSpPr>
        <p:spPr>
          <a:xfrm>
            <a:off x="507000" y="2060576"/>
            <a:ext cx="8892000" cy="41052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spTree>
    <p:extLst>
      <p:ext uri="{BB962C8B-B14F-4D97-AF65-F5344CB8AC3E}">
        <p14:creationId xmlns:p14="http://schemas.microsoft.com/office/powerpoint/2010/main" val="64587584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Lst>
  <p:hf hdr="0" ftr="0" dt="0"/>
  <p:txStyles>
    <p:titleStyle>
      <a:lvl1pPr algn="l" defTabSz="6858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spcAft>
          <a:spcPts val="1200"/>
        </a:spcAft>
        <a:buFont typeface="Arial" panose="020B0604020202020204" pitchFamily="34" charset="0"/>
        <a:buNone/>
        <a:defRPr sz="1600" b="1" kern="1200">
          <a:solidFill>
            <a:schemeClr val="accent1"/>
          </a:solidFill>
          <a:latin typeface="+mn-lt"/>
          <a:ea typeface="+mn-ea"/>
          <a:cs typeface="+mn-cs"/>
        </a:defRPr>
      </a:lvl1pPr>
      <a:lvl2pPr marL="0" indent="0" algn="l" defTabSz="685800"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2pPr>
      <a:lvl3pPr marL="1828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3pPr>
      <a:lvl4pPr marL="3657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54864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73152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10972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12801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98">
          <p15:clr>
            <a:srgbClr val="A4A3A4"/>
          </p15:clr>
        </p15:guide>
        <p15:guide id="2" pos="295">
          <p15:clr>
            <a:srgbClr val="A4A3A4"/>
          </p15:clr>
        </p15:guide>
        <p15:guide id="3" orient="horz" pos="255">
          <p15:clr>
            <a:srgbClr val="A4A3A4"/>
          </p15:clr>
        </p15:guide>
        <p15:guide id="4" orient="horz" pos="1117">
          <p15:clr>
            <a:srgbClr val="A4A3A4"/>
          </p15:clr>
        </p15:guide>
        <p15:guide id="5" orient="horz" pos="2160">
          <p15:clr>
            <a:srgbClr val="A4A3A4"/>
          </p15:clr>
        </p15:guide>
        <p15:guide id="6" orient="horz" pos="3884">
          <p15:clr>
            <a:srgbClr val="A4A3A4"/>
          </p15:clr>
        </p15:guide>
        <p15:guide id="7" pos="5465">
          <p15:clr>
            <a:srgbClr val="A4A3A4"/>
          </p15:clr>
        </p15:guide>
        <p15:guide id="8" pos="1882">
          <p15:clr>
            <a:srgbClr val="A4A3A4"/>
          </p15:clr>
        </p15:guide>
        <p15:guide id="9" pos="2064">
          <p15:clr>
            <a:srgbClr val="A4A3A4"/>
          </p15:clr>
        </p15:guide>
        <p15:guide id="10" pos="3878">
          <p15:clr>
            <a:srgbClr val="A4A3A4"/>
          </p15:clr>
        </p15:guide>
        <p15:guide id="11" pos="3696">
          <p15:clr>
            <a:srgbClr val="A4A3A4"/>
          </p15:clr>
        </p15:guide>
        <p15:guide id="12" pos="2789">
          <p15:clr>
            <a:srgbClr val="A4A3A4"/>
          </p15:clr>
        </p15:guide>
        <p15:guide id="13" pos="2880">
          <p15:clr>
            <a:srgbClr val="A4A3A4"/>
          </p15:clr>
        </p15:guide>
        <p15:guide id="14" pos="297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787EE09-3D89-263E-08F5-13547C5209CB}"/>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BAED035-9903-74BC-40A8-C3ED6799E5AB}"/>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9686E18-FAF3-EBDD-CD59-E12562EC4642}"/>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44AB3D-1057-4AB6-87D1-2B0FE264E624}" type="datetimeFigureOut">
              <a:rPr kumimoji="1" lang="ja-JP" altLang="en-US" smtClean="0"/>
              <a:t>2025/7/10</a:t>
            </a:fld>
            <a:endParaRPr kumimoji="1" lang="ja-JP" altLang="en-US"/>
          </a:p>
        </p:txBody>
      </p:sp>
      <p:sp>
        <p:nvSpPr>
          <p:cNvPr id="5" name="フッター プレースホルダー 4">
            <a:extLst>
              <a:ext uri="{FF2B5EF4-FFF2-40B4-BE49-F238E27FC236}">
                <a16:creationId xmlns:a16="http://schemas.microsoft.com/office/drawing/2014/main" id="{93B70AA6-1029-6E2A-B8DD-69108B0BADBD}"/>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A912B663-594D-AD94-FA51-FA6C03E215D5}"/>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59251366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6740BA51-ED12-9398-0D70-8BBF43161487}"/>
              </a:ext>
            </a:extLst>
          </p:cNvPr>
          <p:cNvSpPr>
            <a:spLocks noGrp="1"/>
          </p:cNvSpPr>
          <p:nvPr>
            <p:ph type="body" sz="quarter" idx="12"/>
          </p:nvPr>
        </p:nvSpPr>
        <p:spPr>
          <a:xfrm>
            <a:off x="194472" y="188642"/>
            <a:ext cx="9517057" cy="432046"/>
          </a:xfrm>
        </p:spPr>
        <p:txBody>
          <a:bodyPr/>
          <a:lstStyle/>
          <a:p>
            <a:r>
              <a:rPr lang="ja-JP" altLang="en-US" dirty="0"/>
              <a:t>事業概要</a:t>
            </a:r>
            <a:r>
              <a:rPr lang="en-US" altLang="ja-JP" dirty="0"/>
              <a:t>【</a:t>
            </a:r>
            <a:r>
              <a:rPr lang="ja-JP" altLang="en-US" dirty="0"/>
              <a:t>ディープテックスタートアップ事業化</a:t>
            </a:r>
            <a:r>
              <a:rPr lang="ja-JP" altLang="en-US"/>
              <a:t>支援事業</a:t>
            </a:r>
            <a:r>
              <a:rPr lang="en-US" altLang="ja-JP"/>
              <a:t>】</a:t>
            </a:r>
            <a:endParaRPr lang="ja-JP" altLang="en-US" dirty="0"/>
          </a:p>
        </p:txBody>
      </p:sp>
      <p:graphicFrame>
        <p:nvGraphicFramePr>
          <p:cNvPr id="4" name="表 3">
            <a:extLst>
              <a:ext uri="{FF2B5EF4-FFF2-40B4-BE49-F238E27FC236}">
                <a16:creationId xmlns:a16="http://schemas.microsoft.com/office/drawing/2014/main" id="{55AF216C-10D9-4280-9949-48DDE6B30CBF}"/>
              </a:ext>
            </a:extLst>
          </p:cNvPr>
          <p:cNvGraphicFramePr>
            <a:graphicFrameLocks noGrp="1"/>
          </p:cNvGraphicFramePr>
          <p:nvPr>
            <p:extLst>
              <p:ext uri="{D42A27DB-BD31-4B8C-83A1-F6EECF244321}">
                <p14:modId xmlns:p14="http://schemas.microsoft.com/office/powerpoint/2010/main" val="10328841"/>
              </p:ext>
            </p:extLst>
          </p:nvPr>
        </p:nvGraphicFramePr>
        <p:xfrm>
          <a:off x="138486" y="717723"/>
          <a:ext cx="9602673" cy="5993451"/>
        </p:xfrm>
        <a:graphic>
          <a:graphicData uri="http://schemas.openxmlformats.org/drawingml/2006/table">
            <a:tbl>
              <a:tblPr firstRow="1" bandRow="1">
                <a:tableStyleId>{5940675A-B579-460E-94D1-54222C63F5DA}</a:tableStyleId>
              </a:tblPr>
              <a:tblGrid>
                <a:gridCol w="1068522">
                  <a:extLst>
                    <a:ext uri="{9D8B030D-6E8A-4147-A177-3AD203B41FA5}">
                      <a16:colId xmlns:a16="http://schemas.microsoft.com/office/drawing/2014/main" val="1574572698"/>
                    </a:ext>
                  </a:extLst>
                </a:gridCol>
                <a:gridCol w="789492">
                  <a:extLst>
                    <a:ext uri="{9D8B030D-6E8A-4147-A177-3AD203B41FA5}">
                      <a16:colId xmlns:a16="http://schemas.microsoft.com/office/drawing/2014/main" val="3623488850"/>
                    </a:ext>
                  </a:extLst>
                </a:gridCol>
                <a:gridCol w="524294">
                  <a:extLst>
                    <a:ext uri="{9D8B030D-6E8A-4147-A177-3AD203B41FA5}">
                      <a16:colId xmlns:a16="http://schemas.microsoft.com/office/drawing/2014/main" val="3428141043"/>
                    </a:ext>
                  </a:extLst>
                </a:gridCol>
                <a:gridCol w="706014">
                  <a:extLst>
                    <a:ext uri="{9D8B030D-6E8A-4147-A177-3AD203B41FA5}">
                      <a16:colId xmlns:a16="http://schemas.microsoft.com/office/drawing/2014/main" val="3266286335"/>
                    </a:ext>
                  </a:extLst>
                </a:gridCol>
                <a:gridCol w="523936">
                  <a:extLst>
                    <a:ext uri="{9D8B030D-6E8A-4147-A177-3AD203B41FA5}">
                      <a16:colId xmlns:a16="http://schemas.microsoft.com/office/drawing/2014/main" val="281497586"/>
                    </a:ext>
                  </a:extLst>
                </a:gridCol>
                <a:gridCol w="706014">
                  <a:extLst>
                    <a:ext uri="{9D8B030D-6E8A-4147-A177-3AD203B41FA5}">
                      <a16:colId xmlns:a16="http://schemas.microsoft.com/office/drawing/2014/main" val="780657523"/>
                    </a:ext>
                  </a:extLst>
                </a:gridCol>
                <a:gridCol w="523936">
                  <a:extLst>
                    <a:ext uri="{9D8B030D-6E8A-4147-A177-3AD203B41FA5}">
                      <a16:colId xmlns:a16="http://schemas.microsoft.com/office/drawing/2014/main" val="3861910546"/>
                    </a:ext>
                  </a:extLst>
                </a:gridCol>
                <a:gridCol w="505706">
                  <a:extLst>
                    <a:ext uri="{9D8B030D-6E8A-4147-A177-3AD203B41FA5}">
                      <a16:colId xmlns:a16="http://schemas.microsoft.com/office/drawing/2014/main" val="48331999"/>
                    </a:ext>
                  </a:extLst>
                </a:gridCol>
                <a:gridCol w="603504">
                  <a:extLst>
                    <a:ext uri="{9D8B030D-6E8A-4147-A177-3AD203B41FA5}">
                      <a16:colId xmlns:a16="http://schemas.microsoft.com/office/drawing/2014/main" val="876268225"/>
                    </a:ext>
                  </a:extLst>
                </a:gridCol>
                <a:gridCol w="702782">
                  <a:extLst>
                    <a:ext uri="{9D8B030D-6E8A-4147-A177-3AD203B41FA5}">
                      <a16:colId xmlns:a16="http://schemas.microsoft.com/office/drawing/2014/main" val="3168901572"/>
                    </a:ext>
                  </a:extLst>
                </a:gridCol>
                <a:gridCol w="2948473">
                  <a:extLst>
                    <a:ext uri="{9D8B030D-6E8A-4147-A177-3AD203B41FA5}">
                      <a16:colId xmlns:a16="http://schemas.microsoft.com/office/drawing/2014/main" val="3758133616"/>
                    </a:ext>
                  </a:extLst>
                </a:gridCol>
              </a:tblGrid>
              <a:tr h="3056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申請者</a:t>
                      </a:r>
                      <a:endParaRPr lang="ja-JP" altLang="en-US" sz="12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gridSpan="6">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1400" dirty="0">
                          <a:latin typeface="Meiryo UI" panose="020B0604030504040204" pitchFamily="50" charset="-128"/>
                          <a:ea typeface="Meiryo UI" panose="020B0604030504040204" pitchFamily="50" charset="-128"/>
                        </a:rPr>
                        <a:t>大阪府</a:t>
                      </a: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初回採択回</a:t>
                      </a: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令和７年度第１回募集</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令和７年度第１回募集</a:t>
                      </a:r>
                    </a:p>
                  </a:txBody>
                  <a:tcPr anchor="ctr"/>
                </a:tc>
                <a:extLst>
                  <a:ext uri="{0D108BD9-81ED-4DB2-BD59-A6C34878D82A}">
                    <a16:rowId xmlns:a16="http://schemas.microsoft.com/office/drawing/2014/main" val="2442898722"/>
                  </a:ext>
                </a:extLst>
              </a:tr>
              <a:tr h="4838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事業計画</a:t>
                      </a:r>
                      <a:endParaRPr kumimoji="1" lang="en-US" altLang="ja-JP" sz="12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期間</a:t>
                      </a:r>
                    </a:p>
                  </a:txBody>
                  <a:tcPr anchor="ctr">
                    <a:solidFill>
                      <a:schemeClr val="bg1">
                        <a:lumMod val="95000"/>
                      </a:schemeClr>
                    </a:solid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a:latin typeface="Meiryo UI"/>
                          <a:ea typeface="Meiryo UI"/>
                        </a:rPr>
                        <a:t>R7-R9</a:t>
                      </a:r>
                      <a:r>
                        <a:rPr kumimoji="1" lang="ja-JP" altLang="en-US" sz="1400" dirty="0">
                          <a:latin typeface="Meiryo UI"/>
                          <a:ea typeface="Meiryo UI"/>
                        </a:rPr>
                        <a:t>年度</a:t>
                      </a: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期間中の総事業費</a:t>
                      </a:r>
                      <a:endParaRPr kumimoji="1" lang="en-US" altLang="ja-JP" sz="11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latin typeface="Meiryo UI" panose="020B0604030504040204" pitchFamily="50" charset="-128"/>
                          <a:ea typeface="Meiryo UI" panose="020B0604030504040204" pitchFamily="50" charset="-128"/>
                        </a:rPr>
                        <a:t>（カッコ内は</a:t>
                      </a:r>
                      <a:r>
                        <a:rPr kumimoji="1" lang="en-US" altLang="ja-JP" sz="900" dirty="0">
                          <a:latin typeface="Meiryo UI" panose="020B0604030504040204" pitchFamily="50" charset="-128"/>
                          <a:ea typeface="Meiryo UI" panose="020B0604030504040204" pitchFamily="50" charset="-128"/>
                        </a:rPr>
                        <a:t>R7</a:t>
                      </a:r>
                      <a:r>
                        <a:rPr kumimoji="1" lang="ja-JP" altLang="en-US" sz="900" dirty="0">
                          <a:latin typeface="Meiryo UI" panose="020B0604030504040204" pitchFamily="50" charset="-128"/>
                          <a:ea typeface="Meiryo UI" panose="020B0604030504040204" pitchFamily="50" charset="-128"/>
                        </a:rPr>
                        <a:t>年度事業費）</a:t>
                      </a:r>
                      <a:endParaRPr kumimoji="1" lang="ja-JP" altLang="en-US" sz="10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latin typeface="Meiryo UI" panose="020B0604030504040204" pitchFamily="50" charset="-128"/>
                          <a:ea typeface="Meiryo UI" panose="020B0604030504040204" pitchFamily="50" charset="-128"/>
                        </a:rPr>
                        <a:t>180,000</a:t>
                      </a:r>
                      <a:r>
                        <a:rPr kumimoji="1" lang="ja-JP" altLang="en-US" sz="1400">
                          <a:latin typeface="Meiryo UI" panose="020B0604030504040204" pitchFamily="50" charset="-128"/>
                          <a:ea typeface="Meiryo UI" panose="020B0604030504040204" pitchFamily="50" charset="-128"/>
                        </a:rPr>
                        <a:t>千円（</a:t>
                      </a:r>
                      <a:r>
                        <a:rPr kumimoji="1" lang="en-US" altLang="ja-JP" sz="1400">
                          <a:latin typeface="Meiryo UI" panose="020B0604030504040204" pitchFamily="50" charset="-128"/>
                          <a:ea typeface="Meiryo UI" panose="020B0604030504040204" pitchFamily="50" charset="-128"/>
                        </a:rPr>
                        <a:t>66,000</a:t>
                      </a:r>
                      <a:r>
                        <a:rPr kumimoji="1" lang="ja-JP" altLang="en-US" sz="1400">
                          <a:latin typeface="Meiryo UI" panose="020B0604030504040204" pitchFamily="50" charset="-128"/>
                          <a:ea typeface="Meiryo UI" panose="020B0604030504040204" pitchFamily="50" charset="-128"/>
                        </a:rPr>
                        <a:t>千円）</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a:latin typeface="Meiryo UI" panose="020B0604030504040204" pitchFamily="50" charset="-128"/>
                          <a:ea typeface="Meiryo UI" panose="020B0604030504040204" pitchFamily="50" charset="-128"/>
                        </a:rPr>
                        <a:t>314,769</a:t>
                      </a:r>
                      <a:r>
                        <a:rPr kumimoji="1" lang="ja-JP" altLang="en-US" sz="1400" dirty="0">
                          <a:latin typeface="Meiryo UI"/>
                          <a:ea typeface="Meiryo UI"/>
                        </a:rPr>
                        <a:t>千円</a:t>
                      </a:r>
                      <a:endParaRPr kumimoji="1" lang="en-US" altLang="ja-JP" sz="1400" dirty="0">
                        <a:latin typeface="Meiryo UI"/>
                        <a:ea typeface="Meiryo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a:ea typeface="Meiryo UI"/>
                        </a:rPr>
                        <a:t>（</a:t>
                      </a:r>
                      <a:r>
                        <a:rPr kumimoji="1" lang="en-US" altLang="ja-JP" sz="1400" dirty="0">
                          <a:latin typeface="Meiryo UI" panose="020B0604030504040204" pitchFamily="50" charset="-128"/>
                          <a:ea typeface="Meiryo UI" panose="020B0604030504040204" pitchFamily="50" charset="-128"/>
                        </a:rPr>
                        <a:t>126,923</a:t>
                      </a:r>
                      <a:r>
                        <a:rPr kumimoji="1" lang="ja-JP" altLang="en-US" sz="1400" dirty="0">
                          <a:latin typeface="Meiryo UI"/>
                          <a:ea typeface="Meiryo UI"/>
                        </a:rPr>
                        <a:t>千円）</a:t>
                      </a:r>
                    </a:p>
                  </a:txBody>
                  <a:tcPr anchor="ctr"/>
                </a:tc>
                <a:extLst>
                  <a:ext uri="{0D108BD9-81ED-4DB2-BD59-A6C34878D82A}">
                    <a16:rowId xmlns:a16="http://schemas.microsoft.com/office/drawing/2014/main" val="4201150482"/>
                  </a:ext>
                </a:extLst>
              </a:tr>
              <a:tr h="40395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経費の類型</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ソフト</a:t>
                      </a:r>
                      <a:endParaRPr kumimoji="1" lang="en-US" altLang="ja-JP" sz="105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事業</a:t>
                      </a:r>
                    </a:p>
                  </a:txBody>
                  <a:tcPr anchor="ctr">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拠点整備事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spc="-80" baseline="0" dirty="0">
                          <a:latin typeface="Meiryo UI" panose="020B0604030504040204" pitchFamily="50" charset="-128"/>
                          <a:ea typeface="Meiryo UI" panose="020B0604030504040204" pitchFamily="50" charset="-128"/>
                        </a:rPr>
                        <a:t>インフラ</a:t>
                      </a:r>
                      <a:endParaRPr kumimoji="1" lang="en-US" altLang="ja-JP" sz="1050" spc="-80" baseline="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spc="-80" baseline="0" dirty="0">
                          <a:latin typeface="Meiryo UI" panose="020B0604030504040204" pitchFamily="50" charset="-128"/>
                          <a:ea typeface="Meiryo UI" panose="020B0604030504040204" pitchFamily="50" charset="-128"/>
                        </a:rPr>
                        <a:t>整備事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事業分野</a:t>
                      </a: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観光分野</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ローカルイノベーション分野</a:t>
                      </a:r>
                    </a:p>
                  </a:txBody>
                  <a:tcPr anchor="ctr"/>
                </a:tc>
                <a:extLst>
                  <a:ext uri="{0D108BD9-81ED-4DB2-BD59-A6C34878D82A}">
                    <a16:rowId xmlns:a16="http://schemas.microsoft.com/office/drawing/2014/main" val="4187406978"/>
                  </a:ext>
                </a:extLst>
              </a:tr>
              <a:tr h="1137047">
                <a:tc>
                  <a:txBody>
                    <a:bodyPr/>
                    <a:lstStyle/>
                    <a:p>
                      <a:pPr algn="ctr"/>
                      <a:r>
                        <a:rPr kumimoji="1" lang="ja-JP" altLang="en-US" sz="1200" dirty="0">
                          <a:latin typeface="Meiryo UI" panose="020B0604030504040204" pitchFamily="50" charset="-128"/>
                          <a:ea typeface="Meiryo UI" panose="020B0604030504040204" pitchFamily="50" charset="-128"/>
                        </a:rPr>
                        <a:t>目的</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効果）</a:t>
                      </a:r>
                    </a:p>
                  </a:txBody>
                  <a:tcPr anchor="ctr">
                    <a:solidFill>
                      <a:schemeClr val="bg1">
                        <a:lumMod val="95000"/>
                      </a:schemeClr>
                    </a:solidFill>
                  </a:tcPr>
                </a:tc>
                <a:tc gridSpan="10">
                  <a:txBody>
                    <a:body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400" b="0" i="0" u="none" strike="noStrike" kern="1200" baseline="0" dirty="0">
                          <a:solidFill>
                            <a:schemeClr val="tx1"/>
                          </a:solidFill>
                          <a:latin typeface="Meiryo UI" panose="020B0604030504040204" pitchFamily="50" charset="-128"/>
                          <a:ea typeface="Meiryo UI" panose="020B0604030504040204" pitchFamily="50" charset="-128"/>
                          <a:cs typeface="+mn-cs"/>
                        </a:rPr>
                        <a:t>再生医療をはじめとした未来医療の産業化拠点「中之島クロス」発の有望なスタートアップの輩出及びグローバルでの活躍による、中之島クロスの国際拠点化の実現（万博のレガシー）に加えて中之島クロスを中心とした地域のスタートアップエコシステムの確立をめざす。</a:t>
                      </a:r>
                      <a:endParaRPr lang="en-US" altLang="ja-JP" sz="14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hMerge="1">
                  <a:txBody>
                    <a:bodyPr/>
                    <a:lstStyle/>
                    <a:p>
                      <a:pPr marL="95250" indent="-95250">
                        <a:buFont typeface="Arial" panose="020B0604020202020204" pitchFamily="34" charset="0"/>
                        <a:buChar char="•"/>
                      </a:pPr>
                      <a:endParaRPr kumimoji="1" lang="en-US" altLang="ja-JP" sz="1400" b="0" i="0" u="none" strike="noStrike" kern="1200" baseline="0">
                        <a:solidFill>
                          <a:srgbClr val="FF0000"/>
                        </a:solidFill>
                        <a:latin typeface="Meiryo UI" panose="020B0604030504040204" pitchFamily="50" charset="-128"/>
                        <a:ea typeface="Meiryo UI" panose="020B0604030504040204" pitchFamily="50" charset="-128"/>
                        <a:cs typeface="+mn-cs"/>
                      </a:endParaRPr>
                    </a:p>
                  </a:txBody>
                  <a:tcPr anchor="ctr"/>
                </a:tc>
                <a:extLst>
                  <a:ext uri="{0D108BD9-81ED-4DB2-BD59-A6C34878D82A}">
                    <a16:rowId xmlns:a16="http://schemas.microsoft.com/office/drawing/2014/main" val="3133888693"/>
                  </a:ext>
                </a:extLst>
              </a:tr>
              <a:tr h="2425666">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概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経費</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経費内訳は</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事業費</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solidFill>
                      <a:schemeClr val="bg1">
                        <a:lumMod val="95000"/>
                      </a:schemeClr>
                    </a:solidFill>
                  </a:tcPr>
                </a:tc>
                <a:tc gridSpan="7">
                  <a:txBody>
                    <a:bodyPr/>
                    <a:lstStyle/>
                    <a:p>
                      <a:pPr>
                        <a:lnSpc>
                          <a:spcPts val="1200"/>
                        </a:lnSpc>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有望シーズから事業化までを通貫して支援する事業化支援プロ　</a:t>
                      </a:r>
                      <a:endPar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pPr>
                        <a:lnSpc>
                          <a:spcPts val="1200"/>
                        </a:lnSpc>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　 グラムの実施：</a:t>
                      </a:r>
                      <a:r>
                        <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rPr>
                        <a:t>110,129</a:t>
                      </a: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endPar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pPr>
                        <a:lnSpc>
                          <a:spcPts val="1200"/>
                        </a:lnSpc>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　・プログラムを通じて、優れたシーズを事業化、グローバルに活躍</a:t>
                      </a:r>
                      <a:endPar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pPr>
                        <a:lnSpc>
                          <a:spcPts val="1200"/>
                        </a:lnSpc>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　 できる人材を育成する</a:t>
                      </a:r>
                      <a:endPar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pPr>
                        <a:lnSpc>
                          <a:spcPts val="1200"/>
                        </a:lnSpc>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　　①委託料：</a:t>
                      </a:r>
                      <a:r>
                        <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rPr>
                        <a:t>110,058</a:t>
                      </a: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p>
                    <a:p>
                      <a:pPr>
                        <a:lnSpc>
                          <a:spcPts val="1200"/>
                        </a:lnSpc>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　　②委託先の選定に係る経費：</a:t>
                      </a:r>
                      <a:r>
                        <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rPr>
                        <a:t>71</a:t>
                      </a: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p>
                    <a:p>
                      <a:pPr>
                        <a:lnSpc>
                          <a:spcPts val="1200"/>
                        </a:lnSpc>
                      </a:pPr>
                      <a:endPar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pPr>
                        <a:lnSpc>
                          <a:spcPts val="1200"/>
                        </a:lnSpc>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プログラム参加者と支援者・事業会社を繋ぐワークショップ等イベ</a:t>
                      </a:r>
                      <a:endPar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pPr>
                        <a:lnSpc>
                          <a:spcPts val="1200"/>
                        </a:lnSpc>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　 ントの開催：</a:t>
                      </a:r>
                      <a:r>
                        <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rPr>
                        <a:t>16,794</a:t>
                      </a: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endPar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pPr>
                        <a:lnSpc>
                          <a:spcPts val="1200"/>
                        </a:lnSpc>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　・研究者が内外の投資家、医療関係者、事業会社等と交流</a:t>
                      </a:r>
                      <a:endPar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pPr>
                        <a:lnSpc>
                          <a:spcPts val="1200"/>
                        </a:lnSpc>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　 するセミナーやワークショップ等の開催により、事業化を進められる</a:t>
                      </a:r>
                      <a:endPar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pPr>
                        <a:lnSpc>
                          <a:spcPts val="1200"/>
                        </a:lnSpc>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　 メンターや事業会社とのコミュニティを形成し、事業前から人脈形</a:t>
                      </a:r>
                      <a:endPar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pPr>
                        <a:lnSpc>
                          <a:spcPts val="1200"/>
                        </a:lnSpc>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　 成を構築・強化する</a:t>
                      </a:r>
                      <a:endPar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pPr>
                        <a:lnSpc>
                          <a:spcPts val="1200"/>
                        </a:lnSpc>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　　①委託料：</a:t>
                      </a:r>
                      <a:r>
                        <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rPr>
                        <a:t>16,794</a:t>
                      </a: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endPar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rowSpan="2">
                  <a:txBody>
                    <a:bodyPr/>
                    <a:lstStyle/>
                    <a:p>
                      <a:pPr algn="ctr"/>
                      <a:r>
                        <a:rPr kumimoji="1" lang="ja-JP" altLang="en-US" sz="1200" dirty="0">
                          <a:latin typeface="Meiryo UI" panose="020B0604030504040204" pitchFamily="50" charset="-128"/>
                          <a:ea typeface="Meiryo UI" panose="020B0604030504040204" pitchFamily="50" charset="-128"/>
                        </a:rPr>
                        <a:t>実施</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体制</a:t>
                      </a:r>
                    </a:p>
                  </a:txBody>
                  <a:tcPr anchor="ctr">
                    <a:solidFill>
                      <a:schemeClr val="bg1">
                        <a:lumMod val="95000"/>
                      </a:schemeClr>
                    </a:solidFill>
                  </a:tcPr>
                </a:tc>
                <a:tc rowSpan="2" gridSpan="2">
                  <a:txBody>
                    <a:bodyPr/>
                    <a:lstStyle/>
                    <a:p>
                      <a:endParaRPr kumimoji="1" lang="en-US" altLang="ja-JP" sz="1000" dirty="0">
                        <a:latin typeface="Meiryo UI" panose="020B0604030504040204" pitchFamily="50" charset="-128"/>
                        <a:ea typeface="Meiryo UI" panose="020B0604030504040204" pitchFamily="50" charset="-128"/>
                      </a:endParaRPr>
                    </a:p>
                  </a:txBody>
                  <a:tcPr anchor="ctr"/>
                </a:tc>
                <a:tc rowSpan="2" hMerge="1">
                  <a:txBody>
                    <a:bodyPr/>
                    <a:lstStyle/>
                    <a:p>
                      <a:endParaRPr kumimoji="1" lang="ja-JP" altLang="en-US"/>
                    </a:p>
                  </a:txBody>
                  <a:tcPr anchor="ctr"/>
                </a:tc>
                <a:extLst>
                  <a:ext uri="{0D108BD9-81ED-4DB2-BD59-A6C34878D82A}">
                    <a16:rowId xmlns:a16="http://schemas.microsoft.com/office/drawing/2014/main" val="827494687"/>
                  </a:ext>
                </a:extLst>
              </a:tr>
              <a:tr h="119545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t>KPI</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ッコ内の数値は最終事業年度までの「</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KPI</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増加分の累計」の目標値</a:t>
                      </a:r>
                    </a:p>
                  </a:txBody>
                  <a:tcPr anchor="ctr">
                    <a:solidFill>
                      <a:schemeClr val="bg1">
                        <a:lumMod val="95000"/>
                      </a:schemeClr>
                    </a:solidFill>
                  </a:tcPr>
                </a:tc>
                <a:tc gridSpan="7">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①本プログラムを通じてプロジェクト化した後の起業増加数（＋８件）</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②グローバルな展開を視野にした有望シーズの事業化（ビジネスプランの作成）（＋</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8</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③事業を通じたコミュニティへの参加者数（＋</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300</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者）</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④事業化支援プログラムへの参加者数（＋</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00</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者）</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⑤ワークショップ等イベントへの合計参加者数</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00</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者</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sz="1400">
                        <a:latin typeface="Meiryo UI" panose="020B0604030504040204" pitchFamily="50" charset="-128"/>
                        <a:ea typeface="Meiryo UI" panose="020B0604030504040204" pitchFamily="50" charset="-128"/>
                      </a:endParaRPr>
                    </a:p>
                  </a:txBody>
                  <a:tcPr anchor="ctr"/>
                </a:tc>
                <a:tc v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t>KPI</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ッコ内の数値は最終事業年度までの「</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KPI</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増加分の累計」の目標値</a:t>
                      </a:r>
                    </a:p>
                  </a:txBody>
                  <a:tcPr anchor="ctr">
                    <a:solidFill>
                      <a:schemeClr val="bg1">
                        <a:lumMod val="95000"/>
                      </a:schemeClr>
                    </a:solidFill>
                  </a:tcPr>
                </a:tc>
                <a:tc gridSpan="2" vMerge="1">
                  <a:txBody>
                    <a:bodyPr/>
                    <a:lstStyle/>
                    <a:p>
                      <a:r>
                        <a:rPr kumimoji="1" lang="ja-JP" altLang="en-US" sz="1000" dirty="0">
                          <a:latin typeface="Meiryo UI" panose="020B0604030504040204" pitchFamily="50" charset="-128"/>
                          <a:ea typeface="Meiryo UI" panose="020B0604030504040204" pitchFamily="50" charset="-128"/>
                        </a:rPr>
                        <a:t>①本プログラムを通じてプロジェクト化した後の起業増加数（＋８件）</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②グローバルな展開を視野にした有望シーズの事業化（ビジネスプランの作成）（＋</a:t>
                      </a:r>
                      <a:r>
                        <a:rPr kumimoji="1" lang="en-US" altLang="ja-JP" sz="1000" dirty="0">
                          <a:latin typeface="Meiryo UI" panose="020B0604030504040204" pitchFamily="50" charset="-128"/>
                          <a:ea typeface="Meiryo UI" panose="020B0604030504040204" pitchFamily="50" charset="-128"/>
                        </a:rPr>
                        <a:t>18</a:t>
                      </a:r>
                      <a:r>
                        <a:rPr kumimoji="1" lang="ja-JP" altLang="en-US" sz="1000" dirty="0">
                          <a:latin typeface="Meiryo UI" panose="020B0604030504040204" pitchFamily="50" charset="-128"/>
                          <a:ea typeface="Meiryo UI" panose="020B0604030504040204" pitchFamily="50" charset="-128"/>
                        </a:rPr>
                        <a:t>回）</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③事業を通じたコミュニティへの参加者数（＋</a:t>
                      </a:r>
                      <a:r>
                        <a:rPr kumimoji="1" lang="en-US" altLang="ja-JP" sz="1000" dirty="0">
                          <a:latin typeface="Meiryo UI" panose="020B0604030504040204" pitchFamily="50" charset="-128"/>
                          <a:ea typeface="Meiryo UI" panose="020B0604030504040204" pitchFamily="50" charset="-128"/>
                        </a:rPr>
                        <a:t>300</a:t>
                      </a:r>
                      <a:r>
                        <a:rPr kumimoji="1" lang="ja-JP" altLang="en-US" sz="1000" dirty="0">
                          <a:latin typeface="Meiryo UI" panose="020B0604030504040204" pitchFamily="50" charset="-128"/>
                          <a:ea typeface="Meiryo UI" panose="020B0604030504040204" pitchFamily="50" charset="-128"/>
                        </a:rPr>
                        <a:t>者）</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④事業化支援プログラムへの参加者数（＋</a:t>
                      </a:r>
                      <a:r>
                        <a:rPr kumimoji="1" lang="en-US" altLang="ja-JP" sz="1000" dirty="0">
                          <a:latin typeface="Meiryo UI" panose="020B0604030504040204" pitchFamily="50" charset="-128"/>
                          <a:ea typeface="Meiryo UI" panose="020B0604030504040204" pitchFamily="50" charset="-128"/>
                        </a:rPr>
                        <a:t>600</a:t>
                      </a:r>
                      <a:r>
                        <a:rPr kumimoji="1" lang="ja-JP" altLang="en-US" sz="1000" dirty="0">
                          <a:latin typeface="Meiryo UI" panose="020B0604030504040204" pitchFamily="50" charset="-128"/>
                          <a:ea typeface="Meiryo UI" panose="020B0604030504040204" pitchFamily="50" charset="-128"/>
                        </a:rPr>
                        <a:t>者）</a:t>
                      </a:r>
                      <a:endParaRPr kumimoji="1" lang="en-US" altLang="ja-JP" sz="1000" dirty="0">
                        <a:latin typeface="Meiryo UI" panose="020B0604030504040204" pitchFamily="50" charset="-128"/>
                        <a:ea typeface="Meiryo UI" panose="020B0604030504040204" pitchFamily="50" charset="-128"/>
                      </a:endParaRPr>
                    </a:p>
                    <a:p>
                      <a:r>
                        <a:rPr kumimoji="1" lang="ja-JP" altLang="en-US" sz="1000" dirty="0">
                          <a:latin typeface="Meiryo UI" panose="020B0604030504040204" pitchFamily="50" charset="-128"/>
                          <a:ea typeface="Meiryo UI" panose="020B0604030504040204" pitchFamily="50" charset="-128"/>
                        </a:rPr>
                        <a:t>⑤ワークショップ等イベントへの合計参加者数</a:t>
                      </a:r>
                      <a:r>
                        <a:rPr kumimoji="1" lang="en-US" altLang="ja-JP" sz="1000" dirty="0">
                          <a:latin typeface="Meiryo UI" panose="020B0604030504040204" pitchFamily="50" charset="-128"/>
                          <a:ea typeface="Meiryo UI" panose="020B0604030504040204" pitchFamily="50" charset="-128"/>
                        </a:rPr>
                        <a:t>(</a:t>
                      </a:r>
                      <a:r>
                        <a:rPr kumimoji="1" lang="ja-JP" altLang="en-US" sz="1000" dirty="0">
                          <a:latin typeface="Meiryo UI" panose="020B0604030504040204" pitchFamily="50" charset="-128"/>
                          <a:ea typeface="Meiryo UI" panose="020B0604030504040204" pitchFamily="50" charset="-128"/>
                        </a:rPr>
                        <a:t>＋</a:t>
                      </a:r>
                      <a:r>
                        <a:rPr kumimoji="1" lang="en-US" altLang="ja-JP" sz="1000" dirty="0">
                          <a:latin typeface="Meiryo UI" panose="020B0604030504040204" pitchFamily="50" charset="-128"/>
                          <a:ea typeface="Meiryo UI" panose="020B0604030504040204" pitchFamily="50" charset="-128"/>
                        </a:rPr>
                        <a:t>600</a:t>
                      </a:r>
                      <a:r>
                        <a:rPr kumimoji="1" lang="ja-JP" altLang="en-US" sz="1000" dirty="0">
                          <a:latin typeface="Meiryo UI" panose="020B0604030504040204" pitchFamily="50" charset="-128"/>
                          <a:ea typeface="Meiryo UI" panose="020B0604030504040204" pitchFamily="50" charset="-128"/>
                        </a:rPr>
                        <a:t>者</a:t>
                      </a:r>
                      <a:r>
                        <a:rPr kumimoji="1" lang="en-US" altLang="ja-JP" sz="1000" dirty="0">
                          <a:latin typeface="Meiryo UI" panose="020B0604030504040204" pitchFamily="50" charset="-128"/>
                          <a:ea typeface="Meiryo UI" panose="020B0604030504040204" pitchFamily="50" charset="-128"/>
                        </a:rPr>
                        <a:t>)</a:t>
                      </a:r>
                    </a:p>
                  </a:txBody>
                  <a:tcPr anchor="ctr"/>
                </a:tc>
                <a:tc hMerge="1"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altLang="ja-JP" sz="1200" i="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167952532"/>
                  </a:ext>
                </a:extLst>
              </a:tr>
            </a:tbl>
          </a:graphicData>
        </a:graphic>
      </p:graphicFrame>
      <p:sp>
        <p:nvSpPr>
          <p:cNvPr id="6" name="正方形/長方形 5">
            <a:extLst>
              <a:ext uri="{FF2B5EF4-FFF2-40B4-BE49-F238E27FC236}">
                <a16:creationId xmlns:a16="http://schemas.microsoft.com/office/drawing/2014/main" id="{B863FE98-2A34-4019-A13F-3568DA5516A4}"/>
              </a:ext>
            </a:extLst>
          </p:cNvPr>
          <p:cNvSpPr/>
          <p:nvPr/>
        </p:nvSpPr>
        <p:spPr>
          <a:xfrm>
            <a:off x="6437630" y="3221081"/>
            <a:ext cx="720000" cy="23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ysClr val="windowText" lastClr="000000"/>
                </a:solidFill>
                <a:latin typeface="Meiryo UI" panose="020B0604030504040204" pitchFamily="50" charset="-128"/>
                <a:ea typeface="Meiryo UI" panose="020B0604030504040204" pitchFamily="50" charset="-128"/>
              </a:rPr>
              <a:t>大阪府</a:t>
            </a:r>
          </a:p>
        </p:txBody>
      </p:sp>
      <p:sp>
        <p:nvSpPr>
          <p:cNvPr id="7" name="正方形/長方形 6">
            <a:extLst>
              <a:ext uri="{FF2B5EF4-FFF2-40B4-BE49-F238E27FC236}">
                <a16:creationId xmlns:a16="http://schemas.microsoft.com/office/drawing/2014/main" id="{9811AF7E-5F22-4EB1-9783-2D430FC7EBFD}"/>
              </a:ext>
            </a:extLst>
          </p:cNvPr>
          <p:cNvSpPr/>
          <p:nvPr/>
        </p:nvSpPr>
        <p:spPr>
          <a:xfrm>
            <a:off x="6472192" y="4354231"/>
            <a:ext cx="1584000" cy="28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中之島クロス入居企業</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ライフサイエンス関連企業</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E18C0409-603E-44D7-AF5C-BF5252D94FD0}"/>
              </a:ext>
            </a:extLst>
          </p:cNvPr>
          <p:cNvSpPr/>
          <p:nvPr/>
        </p:nvSpPr>
        <p:spPr>
          <a:xfrm>
            <a:off x="8204981" y="4365484"/>
            <a:ext cx="1225103" cy="28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近畿経済産業局</a:t>
            </a:r>
          </a:p>
        </p:txBody>
      </p:sp>
      <p:sp>
        <p:nvSpPr>
          <p:cNvPr id="9" name="正方形/長方形 8">
            <a:extLst>
              <a:ext uri="{FF2B5EF4-FFF2-40B4-BE49-F238E27FC236}">
                <a16:creationId xmlns:a16="http://schemas.microsoft.com/office/drawing/2014/main" id="{C2807F6D-E376-4C88-8266-C29E34783DFA}"/>
              </a:ext>
            </a:extLst>
          </p:cNvPr>
          <p:cNvSpPr/>
          <p:nvPr/>
        </p:nvSpPr>
        <p:spPr>
          <a:xfrm>
            <a:off x="6365965" y="4211256"/>
            <a:ext cx="3187339" cy="902834"/>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ysClr val="windowText" lastClr="000000"/>
              </a:solidFill>
              <a:latin typeface="Meiryo UI" panose="020B0604030504040204" pitchFamily="50" charset="-128"/>
              <a:ea typeface="Meiryo UI" panose="020B0604030504040204" pitchFamily="50" charset="-128"/>
            </a:endParaRPr>
          </a:p>
        </p:txBody>
      </p:sp>
      <p:cxnSp>
        <p:nvCxnSpPr>
          <p:cNvPr id="10" name="直線コネクタ 9">
            <a:extLst>
              <a:ext uri="{FF2B5EF4-FFF2-40B4-BE49-F238E27FC236}">
                <a16:creationId xmlns:a16="http://schemas.microsoft.com/office/drawing/2014/main" id="{4D1204BD-B696-40CF-8903-28199CE4E04F}"/>
              </a:ext>
            </a:extLst>
          </p:cNvPr>
          <p:cNvCxnSpPr>
            <a:cxnSpLocks/>
            <a:stCxn id="6" idx="3"/>
            <a:endCxn id="12" idx="1"/>
          </p:cNvCxnSpPr>
          <p:nvPr/>
        </p:nvCxnSpPr>
        <p:spPr>
          <a:xfrm>
            <a:off x="7157630" y="3338081"/>
            <a:ext cx="817046" cy="913"/>
          </a:xfrm>
          <a:prstGeom prst="line">
            <a:avLst/>
          </a:prstGeom>
          <a:ln w="9525"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13" name="テキスト ボックス 12">
            <a:extLst>
              <a:ext uri="{FF2B5EF4-FFF2-40B4-BE49-F238E27FC236}">
                <a16:creationId xmlns:a16="http://schemas.microsoft.com/office/drawing/2014/main" id="{33BE5C51-AC22-4FE1-9335-6D5325EE18B0}"/>
              </a:ext>
            </a:extLst>
          </p:cNvPr>
          <p:cNvSpPr txBox="1"/>
          <p:nvPr/>
        </p:nvSpPr>
        <p:spPr>
          <a:xfrm>
            <a:off x="7297778" y="4120748"/>
            <a:ext cx="1367241" cy="180000"/>
          </a:xfrm>
          <a:prstGeom prst="rect">
            <a:avLst/>
          </a:prstGeom>
          <a:solidFill>
            <a:schemeClr val="bg1"/>
          </a:solidFill>
          <a:ln w="9525">
            <a:noFill/>
          </a:ln>
        </p:spPr>
        <p:txBody>
          <a:bodyPr wrap="square" rtlCol="0">
            <a:spAutoFit/>
          </a:bodyPr>
          <a:lstStyle/>
          <a:p>
            <a:pPr algn="ctr"/>
            <a:r>
              <a:rPr kumimoji="1" lang="ja-JP" altLang="en-US" sz="900" dirty="0">
                <a:latin typeface="Meiryo UI" panose="020B0604030504040204" pitchFamily="50" charset="-128"/>
                <a:ea typeface="Meiryo UI" panose="020B0604030504040204" pitchFamily="50" charset="-128"/>
              </a:rPr>
              <a:t>関連するステークホルダー</a:t>
            </a:r>
          </a:p>
        </p:txBody>
      </p:sp>
      <p:sp>
        <p:nvSpPr>
          <p:cNvPr id="15" name="テキスト ボックス 14">
            <a:extLst>
              <a:ext uri="{FF2B5EF4-FFF2-40B4-BE49-F238E27FC236}">
                <a16:creationId xmlns:a16="http://schemas.microsoft.com/office/drawing/2014/main" id="{1DEAA328-A37E-452B-92CE-F1915EF62CC1}"/>
              </a:ext>
            </a:extLst>
          </p:cNvPr>
          <p:cNvSpPr txBox="1"/>
          <p:nvPr/>
        </p:nvSpPr>
        <p:spPr>
          <a:xfrm>
            <a:off x="7176718" y="3392832"/>
            <a:ext cx="681824" cy="230832"/>
          </a:xfrm>
          <a:prstGeom prst="rect">
            <a:avLst/>
          </a:prstGeom>
          <a:solidFill>
            <a:schemeClr val="bg1"/>
          </a:solidFill>
          <a:ln w="9525">
            <a:noFill/>
          </a:ln>
        </p:spPr>
        <p:txBody>
          <a:bodyPr wrap="square" rtlCol="0">
            <a:spAutoFit/>
          </a:bodyPr>
          <a:lstStyle/>
          <a:p>
            <a:pPr algn="r"/>
            <a:r>
              <a:rPr kumimoji="1" lang="ja-JP" altLang="en-US" sz="900" dirty="0">
                <a:latin typeface="Meiryo UI" panose="020B0604030504040204" pitchFamily="50" charset="-128"/>
                <a:ea typeface="Meiryo UI" panose="020B0604030504040204" pitchFamily="50" charset="-128"/>
              </a:rPr>
              <a:t>委託契約</a:t>
            </a:r>
            <a:endParaRPr kumimoji="1" lang="en-US" altLang="ja-JP" sz="900" dirty="0">
              <a:latin typeface="Meiryo UI" panose="020B0604030504040204" pitchFamily="50" charset="-128"/>
              <a:ea typeface="Meiryo UI" panose="020B0604030504040204" pitchFamily="50" charset="-128"/>
            </a:endParaRPr>
          </a:p>
        </p:txBody>
      </p:sp>
      <p:graphicFrame>
        <p:nvGraphicFramePr>
          <p:cNvPr id="20" name="表 45">
            <a:extLst>
              <a:ext uri="{FF2B5EF4-FFF2-40B4-BE49-F238E27FC236}">
                <a16:creationId xmlns:a16="http://schemas.microsoft.com/office/drawing/2014/main" id="{2299A073-DDA6-4618-B894-7299B84F8FCB}"/>
              </a:ext>
            </a:extLst>
          </p:cNvPr>
          <p:cNvGraphicFramePr>
            <a:graphicFrameLocks noGrp="1"/>
          </p:cNvGraphicFramePr>
          <p:nvPr>
            <p:extLst>
              <p:ext uri="{D42A27DB-BD31-4B8C-83A1-F6EECF244321}">
                <p14:modId xmlns:p14="http://schemas.microsoft.com/office/powerpoint/2010/main" val="3325983993"/>
              </p:ext>
            </p:extLst>
          </p:nvPr>
        </p:nvGraphicFramePr>
        <p:xfrm>
          <a:off x="6165668" y="5180297"/>
          <a:ext cx="3528000" cy="1447800"/>
        </p:xfrm>
        <a:graphic>
          <a:graphicData uri="http://schemas.openxmlformats.org/drawingml/2006/table">
            <a:tbl>
              <a:tblPr firstRow="1" bandRow="1">
                <a:tableStyleId>{F5AB1C69-6EDB-4FF4-983F-18BD219EF322}</a:tableStyleId>
              </a:tblPr>
              <a:tblGrid>
                <a:gridCol w="1248799">
                  <a:extLst>
                    <a:ext uri="{9D8B030D-6E8A-4147-A177-3AD203B41FA5}">
                      <a16:colId xmlns:a16="http://schemas.microsoft.com/office/drawing/2014/main" val="2758442477"/>
                    </a:ext>
                  </a:extLst>
                </a:gridCol>
                <a:gridCol w="2279201">
                  <a:extLst>
                    <a:ext uri="{9D8B030D-6E8A-4147-A177-3AD203B41FA5}">
                      <a16:colId xmlns:a16="http://schemas.microsoft.com/office/drawing/2014/main" val="3363882439"/>
                    </a:ext>
                  </a:extLst>
                </a:gridCol>
              </a:tblGrid>
              <a:tr h="227368">
                <a:tc>
                  <a:txBody>
                    <a:bodyPr/>
                    <a:lstStyle/>
                    <a:p>
                      <a:pPr algn="ctr"/>
                      <a:r>
                        <a:rPr kumimoji="1" lang="ja-JP" altLang="en-US" sz="900" dirty="0">
                          <a:latin typeface="Meiryo UI" panose="020B0604030504040204" pitchFamily="50" charset="-128"/>
                          <a:ea typeface="Meiryo UI" panose="020B0604030504040204" pitchFamily="50" charset="-128"/>
                        </a:rPr>
                        <a:t>名称</a:t>
                      </a:r>
                    </a:p>
                  </a:txBody>
                  <a:tcPr anchor="ctr"/>
                </a:tc>
                <a:tc>
                  <a:txBody>
                    <a:bodyPr/>
                    <a:lstStyle/>
                    <a:p>
                      <a:pPr algn="ctr"/>
                      <a:r>
                        <a:rPr kumimoji="1" lang="ja-JP" altLang="en-US" sz="900" dirty="0">
                          <a:latin typeface="Meiryo UI" panose="020B0604030504040204" pitchFamily="50" charset="-128"/>
                          <a:ea typeface="Meiryo UI" panose="020B0604030504040204" pitchFamily="50" charset="-128"/>
                        </a:rPr>
                        <a:t>役割</a:t>
                      </a:r>
                    </a:p>
                  </a:txBody>
                  <a:tcPr anchor="ctr"/>
                </a:tc>
                <a:extLst>
                  <a:ext uri="{0D108BD9-81ED-4DB2-BD59-A6C34878D82A}">
                    <a16:rowId xmlns:a16="http://schemas.microsoft.com/office/drawing/2014/main" val="2563738176"/>
                  </a:ext>
                </a:extLst>
              </a:tr>
              <a:tr h="333474">
                <a:tc>
                  <a:txBody>
                    <a:bodyPr/>
                    <a:lstStyle/>
                    <a:p>
                      <a:r>
                        <a:rPr kumimoji="1" lang="ja-JP" altLang="en-US" sz="800" dirty="0">
                          <a:latin typeface="Meiryo UI" panose="020B0604030504040204" pitchFamily="50" charset="-128"/>
                          <a:ea typeface="Meiryo UI" panose="020B0604030504040204" pitchFamily="50" charset="-128"/>
                        </a:rPr>
                        <a:t>中之島クロス入居企業</a:t>
                      </a:r>
                    </a:p>
                    <a:p>
                      <a:r>
                        <a:rPr kumimoji="1" lang="ja-JP" altLang="en-US" sz="800" dirty="0">
                          <a:latin typeface="Meiryo UI" panose="020B0604030504040204" pitchFamily="50" charset="-128"/>
                          <a:ea typeface="Meiryo UI" panose="020B0604030504040204" pitchFamily="50" charset="-128"/>
                        </a:rPr>
                        <a:t>ライフサイエンス関連企業</a:t>
                      </a:r>
                    </a:p>
                  </a:txBody>
                  <a:tcPr anchor="ctr"/>
                </a:tc>
                <a:tc>
                  <a:txBody>
                    <a:bodyPr/>
                    <a:lstStyle/>
                    <a:p>
                      <a:r>
                        <a:rPr kumimoji="1" lang="ja-JP" altLang="en-US" sz="800" dirty="0">
                          <a:latin typeface="Meiryo UI" panose="020B0604030504040204" pitchFamily="50" charset="-128"/>
                          <a:ea typeface="Meiryo UI" panose="020B0604030504040204" pitchFamily="50" charset="-128"/>
                        </a:rPr>
                        <a:t>事業化支援プログラム、イベントにスタートアップの支援機関として参画</a:t>
                      </a:r>
                    </a:p>
                  </a:txBody>
                  <a:tcPr anchor="ctr"/>
                </a:tc>
                <a:extLst>
                  <a:ext uri="{0D108BD9-81ED-4DB2-BD59-A6C34878D82A}">
                    <a16:rowId xmlns:a16="http://schemas.microsoft.com/office/drawing/2014/main" val="487261463"/>
                  </a:ext>
                </a:extLst>
              </a:tr>
              <a:tr h="21221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dirty="0">
                          <a:solidFill>
                            <a:sysClr val="windowText" lastClr="000000"/>
                          </a:solidFill>
                          <a:latin typeface="Meiryo UI" panose="020B0604030504040204" pitchFamily="50" charset="-128"/>
                          <a:ea typeface="Meiryo UI" panose="020B0604030504040204" pitchFamily="50" charset="-128"/>
                        </a:rPr>
                        <a:t>近畿経済産業局</a:t>
                      </a:r>
                    </a:p>
                  </a:txBody>
                  <a:tcPr anchor="ctr"/>
                </a:tc>
                <a:tc>
                  <a:txBody>
                    <a:bodyPr/>
                    <a:lstStyle/>
                    <a:p>
                      <a:r>
                        <a:rPr kumimoji="1" lang="ja-JP" altLang="en-US" sz="800" dirty="0">
                          <a:latin typeface="Meiryo UI" panose="020B0604030504040204" pitchFamily="50" charset="-128"/>
                          <a:ea typeface="Meiryo UI" panose="020B0604030504040204" pitchFamily="50" charset="-128"/>
                        </a:rPr>
                        <a:t>エコシステムの一員として参加。参加者の周知・紹介</a:t>
                      </a:r>
                    </a:p>
                  </a:txBody>
                  <a:tcPr anchor="ctr"/>
                </a:tc>
                <a:extLst>
                  <a:ext uri="{0D108BD9-81ED-4DB2-BD59-A6C34878D82A}">
                    <a16:rowId xmlns:a16="http://schemas.microsoft.com/office/drawing/2014/main" val="1096476272"/>
                  </a:ext>
                </a:extLst>
              </a:tr>
              <a:tr h="333474">
                <a:tc>
                  <a:txBody>
                    <a:bodyPr/>
                    <a:lstStyle/>
                    <a:p>
                      <a:pPr algn="l"/>
                      <a:r>
                        <a:rPr kumimoji="1" lang="ja-JP" altLang="en-US" sz="800" dirty="0">
                          <a:solidFill>
                            <a:sysClr val="windowText" lastClr="000000"/>
                          </a:solidFill>
                          <a:latin typeface="Meiryo UI" panose="020B0604030504040204" pitchFamily="50" charset="-128"/>
                          <a:ea typeface="Meiryo UI" panose="020B0604030504040204" pitchFamily="50" charset="-128"/>
                        </a:rPr>
                        <a:t>大学、アカデミア等の</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p>
                      <a:pPr algn="l"/>
                      <a:r>
                        <a:rPr kumimoji="1" lang="ja-JP" altLang="en-US" sz="800" dirty="0">
                          <a:solidFill>
                            <a:sysClr val="windowText" lastClr="000000"/>
                          </a:solidFill>
                          <a:latin typeface="Meiryo UI" panose="020B0604030504040204" pitchFamily="50" charset="-128"/>
                          <a:ea typeface="Meiryo UI" panose="020B0604030504040204" pitchFamily="50" charset="-128"/>
                        </a:rPr>
                        <a:t>研究者、学生</a:t>
                      </a:r>
                    </a:p>
                  </a:txBody>
                  <a:tcPr anchor="ctr"/>
                </a:tc>
                <a:tc>
                  <a:txBody>
                    <a:bodyPr/>
                    <a:lstStyle/>
                    <a:p>
                      <a:r>
                        <a:rPr kumimoji="1" lang="ja-JP" altLang="en-US" sz="800" dirty="0">
                          <a:latin typeface="Meiryo UI" panose="020B0604030504040204" pitchFamily="50" charset="-128"/>
                          <a:ea typeface="Meiryo UI" panose="020B0604030504040204" pitchFamily="50" charset="-128"/>
                        </a:rPr>
                        <a:t>スタートアップ候補として事業化支援プログラムやエコシステムの一員として参加。参加者の周知・紹介</a:t>
                      </a:r>
                    </a:p>
                  </a:txBody>
                  <a:tcPr anchor="ctr"/>
                </a:tc>
                <a:extLst>
                  <a:ext uri="{0D108BD9-81ED-4DB2-BD59-A6C34878D82A}">
                    <a16:rowId xmlns:a16="http://schemas.microsoft.com/office/drawing/2014/main" val="3034477678"/>
                  </a:ext>
                </a:extLst>
              </a:tr>
              <a:tr h="33347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dirty="0">
                          <a:solidFill>
                            <a:sysClr val="windowText" lastClr="000000"/>
                          </a:solidFill>
                          <a:latin typeface="Meiryo UI" panose="020B0604030504040204" pitchFamily="50" charset="-128"/>
                          <a:ea typeface="Meiryo UI" panose="020B0604030504040204" pitchFamily="50" charset="-128"/>
                        </a:rPr>
                        <a:t>外部の投資家、</a:t>
                      </a:r>
                      <a:r>
                        <a:rPr kumimoji="1" lang="en-US" altLang="ja-JP" sz="800" dirty="0">
                          <a:solidFill>
                            <a:sysClr val="windowText" lastClr="000000"/>
                          </a:solidFill>
                          <a:latin typeface="Meiryo UI" panose="020B0604030504040204" pitchFamily="50" charset="-128"/>
                          <a:ea typeface="Meiryo UI" panose="020B0604030504040204" pitchFamily="50" charset="-128"/>
                        </a:rPr>
                        <a:t>VC</a:t>
                      </a:r>
                      <a:r>
                        <a:rPr kumimoji="1" lang="ja-JP" altLang="en-US" sz="800" dirty="0">
                          <a:solidFill>
                            <a:sysClr val="windowText" lastClr="000000"/>
                          </a:solidFill>
                          <a:latin typeface="Meiryo UI" panose="020B0604030504040204" pitchFamily="50" charset="-128"/>
                          <a:ea typeface="Meiryo UI" panose="020B0604030504040204" pitchFamily="50" charset="-128"/>
                        </a:rPr>
                        <a:t>、</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dirty="0">
                          <a:solidFill>
                            <a:sysClr val="windowText" lastClr="000000"/>
                          </a:solidFill>
                          <a:latin typeface="Meiryo UI" panose="020B0604030504040204" pitchFamily="50" charset="-128"/>
                          <a:ea typeface="Meiryo UI" panose="020B0604030504040204" pitchFamily="50" charset="-128"/>
                        </a:rPr>
                        <a:t>銀行等の金融機関</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txBody>
                  <a:tcPr anchor="ctr"/>
                </a:tc>
                <a:tc>
                  <a:txBody>
                    <a:bodyPr/>
                    <a:lstStyle/>
                    <a:p>
                      <a:r>
                        <a:rPr kumimoji="1" lang="ja-JP" altLang="en-US" sz="800" dirty="0">
                          <a:latin typeface="Meiryo UI" panose="020B0604030504040204" pitchFamily="50" charset="-128"/>
                          <a:ea typeface="Meiryo UI" panose="020B0604030504040204" pitchFamily="50" charset="-128"/>
                        </a:rPr>
                        <a:t>シーズの事業化をめざすスタートアップの資金調達先候補として参画。起業志望者伴走支援、資金援助</a:t>
                      </a:r>
                    </a:p>
                  </a:txBody>
                  <a:tcPr anchor="ctr"/>
                </a:tc>
                <a:extLst>
                  <a:ext uri="{0D108BD9-81ED-4DB2-BD59-A6C34878D82A}">
                    <a16:rowId xmlns:a16="http://schemas.microsoft.com/office/drawing/2014/main" val="267851017"/>
                  </a:ext>
                </a:extLst>
              </a:tr>
            </a:tbl>
          </a:graphicData>
        </a:graphic>
      </p:graphicFrame>
      <p:sp>
        <p:nvSpPr>
          <p:cNvPr id="22" name="テキスト ボックス 21">
            <a:extLst>
              <a:ext uri="{FF2B5EF4-FFF2-40B4-BE49-F238E27FC236}">
                <a16:creationId xmlns:a16="http://schemas.microsoft.com/office/drawing/2014/main" id="{2BC2DCB4-138C-4E86-B7B8-486B906DB0E1}"/>
              </a:ext>
            </a:extLst>
          </p:cNvPr>
          <p:cNvSpPr txBox="1"/>
          <p:nvPr/>
        </p:nvSpPr>
        <p:spPr>
          <a:xfrm>
            <a:off x="7993122" y="3497978"/>
            <a:ext cx="1569912" cy="646331"/>
          </a:xfrm>
          <a:prstGeom prst="rect">
            <a:avLst/>
          </a:prstGeom>
          <a:solidFill>
            <a:schemeClr val="bg1"/>
          </a:solidFill>
          <a:ln w="9525">
            <a:noFill/>
          </a:ln>
        </p:spPr>
        <p:txBody>
          <a:bodyPr wrap="square" rtlCol="0">
            <a:spAutoFit/>
          </a:bodyPr>
          <a:lstStyle/>
          <a:p>
            <a:r>
              <a:rPr kumimoji="1" lang="en-US" altLang="ja-JP" sz="900" dirty="0">
                <a:latin typeface="Meiryo UI" panose="020B0604030504040204" pitchFamily="50" charset="-128"/>
                <a:ea typeface="Meiryo UI" panose="020B0604030504040204" pitchFamily="50" charset="-128"/>
              </a:rPr>
              <a:t>&lt;</a:t>
            </a:r>
            <a:r>
              <a:rPr kumimoji="1" lang="ja-JP" altLang="en-US" sz="900" dirty="0">
                <a:latin typeface="Meiryo UI" panose="020B0604030504040204" pitchFamily="50" charset="-128"/>
                <a:ea typeface="Meiryo UI" panose="020B0604030504040204" pitchFamily="50" charset="-128"/>
              </a:rPr>
              <a:t>構成員</a:t>
            </a:r>
            <a:r>
              <a:rPr kumimoji="1" lang="en-US" altLang="ja-JP" sz="900" dirty="0">
                <a:latin typeface="Meiryo UI" panose="020B0604030504040204" pitchFamily="50" charset="-128"/>
                <a:ea typeface="Meiryo UI" panose="020B0604030504040204" pitchFamily="50" charset="-128"/>
              </a:rPr>
              <a:t>&gt;</a:t>
            </a:r>
          </a:p>
          <a:p>
            <a:r>
              <a:rPr kumimoji="1" lang="ja-JP" altLang="en-US" sz="900" dirty="0">
                <a:latin typeface="Meiryo UI" panose="020B0604030504040204" pitchFamily="50" charset="-128"/>
                <a:ea typeface="Meiryo UI" panose="020B0604030504040204" pitchFamily="50" charset="-128"/>
              </a:rPr>
              <a:t>・</a:t>
            </a:r>
            <a:r>
              <a:rPr kumimoji="1" lang="en-US" altLang="ja-JP" sz="900" dirty="0">
                <a:latin typeface="Meiryo UI" panose="020B0604030504040204" pitchFamily="50" charset="-128"/>
                <a:ea typeface="Meiryo UI" panose="020B0604030504040204" pitchFamily="50" charset="-128"/>
              </a:rPr>
              <a:t>MIRACLE SCIENCE </a:t>
            </a:r>
            <a:r>
              <a:rPr kumimoji="1" lang="ja-JP" altLang="en-US" sz="900" dirty="0">
                <a:latin typeface="Meiryo UI" panose="020B0604030504040204" pitchFamily="50" charset="-128"/>
                <a:ea typeface="Meiryo UI" panose="020B0604030504040204" pitchFamily="50" charset="-128"/>
              </a:rPr>
              <a:t>　</a:t>
            </a:r>
            <a:endParaRPr kumimoji="1" lang="en-US" altLang="ja-JP" sz="900" dirty="0">
              <a:latin typeface="Meiryo UI" panose="020B0604030504040204" pitchFamily="50" charset="-128"/>
              <a:ea typeface="Meiryo UI" panose="020B0604030504040204" pitchFamily="50" charset="-128"/>
            </a:endParaRPr>
          </a:p>
          <a:p>
            <a:r>
              <a:rPr kumimoji="1" lang="ja-JP" altLang="en-US" sz="900" dirty="0">
                <a:latin typeface="Meiryo UI" panose="020B0604030504040204" pitchFamily="50" charset="-128"/>
                <a:ea typeface="Meiryo UI" panose="020B0604030504040204" pitchFamily="50" charset="-128"/>
              </a:rPr>
              <a:t>　</a:t>
            </a:r>
            <a:r>
              <a:rPr kumimoji="1" lang="en-US" altLang="ja-JP" sz="900" dirty="0">
                <a:latin typeface="Meiryo UI" panose="020B0604030504040204" pitchFamily="50" charset="-128"/>
                <a:ea typeface="Meiryo UI" panose="020B0604030504040204" pitchFamily="50" charset="-128"/>
              </a:rPr>
              <a:t>INNOVATION </a:t>
            </a:r>
            <a:r>
              <a:rPr kumimoji="1" lang="ja-JP" altLang="en-US" sz="900" dirty="0">
                <a:latin typeface="Meiryo UI" panose="020B0604030504040204" pitchFamily="50" charset="-128"/>
                <a:ea typeface="Meiryo UI" panose="020B0604030504040204" pitchFamily="50" charset="-128"/>
              </a:rPr>
              <a:t>株式会社</a:t>
            </a:r>
            <a:endParaRPr kumimoji="1" lang="en-US" altLang="ja-JP" sz="900" dirty="0">
              <a:latin typeface="Meiryo UI" panose="020B0604030504040204" pitchFamily="50" charset="-128"/>
              <a:ea typeface="Meiryo UI" panose="020B0604030504040204" pitchFamily="50" charset="-128"/>
            </a:endParaRPr>
          </a:p>
          <a:p>
            <a:r>
              <a:rPr kumimoji="1" lang="ja-JP" altLang="en-US" sz="900" dirty="0">
                <a:latin typeface="Meiryo UI" panose="020B0604030504040204" pitchFamily="50" charset="-128"/>
                <a:ea typeface="Meiryo UI" panose="020B0604030504040204" pitchFamily="50" charset="-128"/>
              </a:rPr>
              <a:t>・株式会社産学連携研究所</a:t>
            </a:r>
            <a:endParaRPr kumimoji="1" lang="en-US" altLang="ja-JP" sz="900" dirty="0">
              <a:latin typeface="Meiryo UI" panose="020B0604030504040204" pitchFamily="50" charset="-128"/>
              <a:ea typeface="Meiryo UI" panose="020B0604030504040204" pitchFamily="50" charset="-128"/>
            </a:endParaRPr>
          </a:p>
        </p:txBody>
      </p:sp>
      <p:sp>
        <p:nvSpPr>
          <p:cNvPr id="23" name="正方形/長方形 22">
            <a:extLst>
              <a:ext uri="{FF2B5EF4-FFF2-40B4-BE49-F238E27FC236}">
                <a16:creationId xmlns:a16="http://schemas.microsoft.com/office/drawing/2014/main" id="{ECF558E4-FC74-444C-BA59-A14BF7797A84}"/>
              </a:ext>
            </a:extLst>
          </p:cNvPr>
          <p:cNvSpPr/>
          <p:nvPr/>
        </p:nvSpPr>
        <p:spPr>
          <a:xfrm>
            <a:off x="6805940" y="4745681"/>
            <a:ext cx="1225103" cy="28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大学、アカデミア等の</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研究者、学生</a:t>
            </a:r>
          </a:p>
        </p:txBody>
      </p:sp>
      <p:sp>
        <p:nvSpPr>
          <p:cNvPr id="24" name="正方形/長方形 23">
            <a:extLst>
              <a:ext uri="{FF2B5EF4-FFF2-40B4-BE49-F238E27FC236}">
                <a16:creationId xmlns:a16="http://schemas.microsoft.com/office/drawing/2014/main" id="{30F3FE59-9EA6-4680-B511-1EBDC2B4FD4D}"/>
              </a:ext>
            </a:extLst>
          </p:cNvPr>
          <p:cNvSpPr/>
          <p:nvPr/>
        </p:nvSpPr>
        <p:spPr>
          <a:xfrm>
            <a:off x="8204981" y="4745681"/>
            <a:ext cx="1225103" cy="288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外部の投資家、</a:t>
            </a:r>
            <a:r>
              <a:rPr kumimoji="1" lang="en-US" altLang="ja-JP" sz="800" dirty="0">
                <a:solidFill>
                  <a:sysClr val="windowText" lastClr="000000"/>
                </a:solidFill>
                <a:latin typeface="Meiryo UI" panose="020B0604030504040204" pitchFamily="50" charset="-128"/>
                <a:ea typeface="Meiryo UI" panose="020B0604030504040204" pitchFamily="50" charset="-128"/>
              </a:rPr>
              <a:t>VC</a:t>
            </a:r>
            <a:r>
              <a:rPr kumimoji="1" lang="ja-JP" altLang="en-US" sz="800" dirty="0">
                <a:solidFill>
                  <a:sysClr val="windowText" lastClr="000000"/>
                </a:solidFill>
                <a:latin typeface="Meiryo UI" panose="020B0604030504040204" pitchFamily="50" charset="-128"/>
                <a:ea typeface="Meiryo UI" panose="020B0604030504040204" pitchFamily="50" charset="-128"/>
              </a:rPr>
              <a:t>、銀行等の金融機関</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B5B9195E-1151-4638-8E64-ED6F75E3C38C}"/>
              </a:ext>
            </a:extLst>
          </p:cNvPr>
          <p:cNvSpPr/>
          <p:nvPr/>
        </p:nvSpPr>
        <p:spPr>
          <a:xfrm>
            <a:off x="7974676" y="3168827"/>
            <a:ext cx="1569913" cy="34033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dirty="0">
                <a:solidFill>
                  <a:sysClr val="windowText" lastClr="000000"/>
                </a:solidFill>
                <a:latin typeface="Meiryo UI" panose="020B0604030504040204" pitchFamily="50" charset="-128"/>
                <a:ea typeface="Meiryo UI" panose="020B0604030504040204" pitchFamily="50" charset="-128"/>
              </a:rPr>
              <a:t>NQ Deep Tech Studio </a:t>
            </a:r>
            <a:r>
              <a:rPr kumimoji="1" lang="ja-JP" altLang="en-US" sz="1000" dirty="0">
                <a:solidFill>
                  <a:sysClr val="windowText" lastClr="000000"/>
                </a:solidFill>
                <a:latin typeface="Meiryo UI" panose="020B0604030504040204" pitchFamily="50" charset="-128"/>
                <a:ea typeface="Meiryo UI" panose="020B0604030504040204" pitchFamily="50" charset="-128"/>
              </a:rPr>
              <a:t>共同企業体</a:t>
            </a:r>
          </a:p>
        </p:txBody>
      </p:sp>
    </p:spTree>
    <p:extLst>
      <p:ext uri="{BB962C8B-B14F-4D97-AF65-F5344CB8AC3E}">
        <p14:creationId xmlns:p14="http://schemas.microsoft.com/office/powerpoint/2010/main" val="1731062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11">
      <a:majorFont>
        <a:latin typeface="Georgia"/>
        <a:ea typeface="HGP明朝B"/>
        <a:cs typeface=""/>
      </a:majorFont>
      <a:minorFont>
        <a:latin typeface="Arial"/>
        <a:ea typeface="ＭＳ Ｐゴシック"/>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1"/>
        </a:solidFill>
        <a:ln w="9525">
          <a:solidFill>
            <a:schemeClr val="accent1"/>
          </a:solidFill>
        </a:ln>
      </a:spPr>
      <a:bodyPr rtlCol="0" anchor="ctr"/>
      <a:lstStyle>
        <a:defPPr algn="ctr">
          <a:lnSpc>
            <a:spcPct val="100000"/>
          </a:lnSpc>
          <a:defRPr kumimoji="1" sz="1400" dirty="0" smtClean="0">
            <a:solidFill>
              <a:schemeClr val="tx1"/>
            </a:solidFill>
          </a:defRPr>
        </a:defPPr>
      </a:lstStyle>
      <a:style>
        <a:lnRef idx="0">
          <a:schemeClr val="accent1"/>
        </a:lnRef>
        <a:fillRef idx="1">
          <a:schemeClr val="accent1"/>
        </a:fillRef>
        <a:effectRef idx="0">
          <a:schemeClr val="dk1"/>
        </a:effectRef>
        <a:fontRef idx="minor">
          <a:schemeClr val="lt1"/>
        </a:fontRef>
      </a:style>
    </a:spDef>
    <a:lnDef>
      <a:spPr>
        <a:ln w="9525"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nchor="ctr" anchorCtr="0">
        <a:spAutoFit/>
      </a:bodyPr>
      <a:lstStyle>
        <a:defPPr algn="l">
          <a:defRPr kumimoji="1" sz="1400" b="0" smtClean="0">
            <a:solidFill>
              <a:schemeClr val="tx1"/>
            </a:solidFill>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resentation1" id="{CCF45EB7-F9DF-47C5-AB85-48BC232BEAA9}" vid="{DFCB562E-E06E-4428-B9BF-980ED610BD28}"/>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5baf6f3-037f-47c4-8ce6-401f2145fe42">
      <Terms xmlns="http://schemas.microsoft.com/office/infopath/2007/PartnerControls"/>
    </lcf76f155ced4ddcb4097134ff3c332f>
    <TaxCatchAll xmlns="5f1cb31e-0878-4583-824f-77bbdf5ced5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A710B91F3F4C8741B4980356BA13F24F" ma:contentTypeVersion="13" ma:contentTypeDescription="新しいドキュメントを作成します。" ma:contentTypeScope="" ma:versionID="371c07bc1f009aff4d92e927acb7398c">
  <xsd:schema xmlns:xsd="http://www.w3.org/2001/XMLSchema" xmlns:xs="http://www.w3.org/2001/XMLSchema" xmlns:p="http://schemas.microsoft.com/office/2006/metadata/properties" xmlns:ns2="15baf6f3-037f-47c4-8ce6-401f2145fe42" xmlns:ns3="5f1cb31e-0878-4583-824f-77bbdf5ced5f" targetNamespace="http://schemas.microsoft.com/office/2006/metadata/properties" ma:root="true" ma:fieldsID="4c143a26da35c8638e8b1d62de7f5745" ns2:_="" ns3:_="">
    <xsd:import namespace="15baf6f3-037f-47c4-8ce6-401f2145fe42"/>
    <xsd:import namespace="5f1cb31e-0878-4583-824f-77bbdf5ced5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SearchPropertie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baf6f3-037f-47c4-8ce6-401f2145fe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description="" ma:hidden="true" ma:indexed="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1cb31e-0878-4583-824f-77bbdf5ced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ada75fde-06fd-4f09-8d13-58ff50df841a}" ma:internalName="TaxCatchAll" ma:showField="CatchAllData" ma:web="5f1cb31e-0878-4583-824f-77bbdf5ced5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DCC2495-8A4F-4BA0-A19C-91B77DC5E78E}">
  <ds:schemaRefs>
    <ds:schemaRef ds:uri="http://schemas.microsoft.com/sharepoint/v3/contenttype/forms"/>
  </ds:schemaRefs>
</ds:datastoreItem>
</file>

<file path=customXml/itemProps2.xml><?xml version="1.0" encoding="utf-8"?>
<ds:datastoreItem xmlns:ds="http://schemas.openxmlformats.org/officeDocument/2006/customXml" ds:itemID="{E0180633-03E3-40B4-B06F-C40EFB9E2519}">
  <ds:schemaRefs>
    <ds:schemaRef ds:uri="http://purl.org/dc/terms/"/>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15baf6f3-037f-47c4-8ce6-401f2145fe42"/>
    <ds:schemaRef ds:uri="http://schemas.microsoft.com/office/infopath/2007/PartnerControls"/>
    <ds:schemaRef ds:uri="5f1cb31e-0878-4583-824f-77bbdf5ced5f"/>
    <ds:schemaRef ds:uri="http://purl.org/dc/dcmitype/"/>
    <ds:schemaRef ds:uri="http://purl.org/dc/elements/1.1/"/>
  </ds:schemaRefs>
</ds:datastoreItem>
</file>

<file path=customXml/itemProps3.xml><?xml version="1.0" encoding="utf-8"?>
<ds:datastoreItem xmlns:ds="http://schemas.openxmlformats.org/officeDocument/2006/customXml" ds:itemID="{861ADEB1-864A-48B3-A184-90C48CCC7050}">
  <ds:schemaRefs>
    <ds:schemaRef ds:uri="15baf6f3-037f-47c4-8ce6-401f2145fe42"/>
    <ds:schemaRef ds:uri="5f1cb31e-0878-4583-824f-77bbdf5ced5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449</TotalTime>
  <Words>524</Words>
  <Application>Microsoft Office PowerPoint</Application>
  <PresentationFormat>A4 210 x 297 mm</PresentationFormat>
  <Paragraphs>77</Paragraphs>
  <Slides>1</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1</vt:i4>
      </vt:variant>
    </vt:vector>
  </HeadingPairs>
  <TitlesOfParts>
    <vt:vector size="10" baseType="lpstr">
      <vt:lpstr>Meiryo UI</vt:lpstr>
      <vt:lpstr>游ゴシック</vt:lpstr>
      <vt:lpstr>游ゴシック Light</vt:lpstr>
      <vt:lpstr>Arial</vt:lpstr>
      <vt:lpstr>Georgia</vt:lpstr>
      <vt:lpstr>Wingdings</vt:lpstr>
      <vt:lpstr>PwC</vt:lpstr>
      <vt:lpstr>デザインの設定</vt:lpstr>
      <vt:lpstr>think-cell スライド</vt:lpstr>
      <vt:lpstr>PowerPoint プレゼンテーション</vt:lpstr>
    </vt:vector>
  </TitlesOfParts>
  <Company>内閣府</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佐々木 琢磨（デジ田会議事務局）</dc:creator>
  <cp:lastModifiedBy>渡邉</cp:lastModifiedBy>
  <cp:revision>196</cp:revision>
  <cp:lastPrinted>2025-05-15T10:47:41Z</cp:lastPrinted>
  <dcterms:created xsi:type="dcterms:W3CDTF">2023-11-01T11:03:49Z</dcterms:created>
  <dcterms:modified xsi:type="dcterms:W3CDTF">2025-07-10T07:4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10B91F3F4C8741B4980356BA13F24F</vt:lpwstr>
  </property>
  <property fmtid="{D5CDD505-2E9C-101B-9397-08002B2CF9AE}" pid="3" name="MediaServiceImageTags">
    <vt:lpwstr/>
  </property>
</Properties>
</file>